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0"/>
  </p:notesMasterIdLst>
  <p:sldIdLst>
    <p:sldId id="270" r:id="rId2"/>
    <p:sldId id="284" r:id="rId3"/>
    <p:sldId id="271" r:id="rId4"/>
    <p:sldId id="278" r:id="rId5"/>
    <p:sldId id="264" r:id="rId6"/>
    <p:sldId id="265" r:id="rId7"/>
    <p:sldId id="268" r:id="rId8"/>
    <p:sldId id="258" r:id="rId9"/>
    <p:sldId id="279" r:id="rId10"/>
    <p:sldId id="274" r:id="rId11"/>
    <p:sldId id="275" r:id="rId12"/>
    <p:sldId id="276" r:id="rId13"/>
    <p:sldId id="281" r:id="rId14"/>
    <p:sldId id="285" r:id="rId15"/>
    <p:sldId id="280" r:id="rId16"/>
    <p:sldId id="272" r:id="rId17"/>
    <p:sldId id="282" r:id="rId18"/>
    <p:sldId id="283" r:id="rId1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68" autoAdjust="0"/>
    <p:restoredTop sz="94737" autoAdjust="0"/>
  </p:normalViewPr>
  <p:slideViewPr>
    <p:cSldViewPr snapToGrid="0">
      <p:cViewPr varScale="1">
        <p:scale>
          <a:sx n="67" d="100"/>
          <a:sy n="67" d="100"/>
        </p:scale>
        <p:origin x="96" y="25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Classeur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400"/>
              <a:t>Operating</a:t>
            </a:r>
            <a:r>
              <a:rPr lang="fr-FR" sz="1400" baseline="0"/>
              <a:t> temperature ranges</a:t>
            </a:r>
            <a:endParaRPr lang="fr-FR" sz="140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40</c:v>
                </c:pt>
                <c:pt idx="1">
                  <c:v>40</c:v>
                </c:pt>
                <c:pt idx="2">
                  <c:v>60</c:v>
                </c:pt>
                <c:pt idx="3">
                  <c:v>200</c:v>
                </c:pt>
                <c:pt idx="4">
                  <c:v>650</c:v>
                </c:pt>
                <c:pt idx="5">
                  <c:v>600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2:$A$7</c:f>
              <c:strCache>
                <c:ptCount val="6"/>
                <c:pt idx="0">
                  <c:v>PEMFC</c:v>
                </c:pt>
                <c:pt idx="1">
                  <c:v>AFC</c:v>
                </c:pt>
                <c:pt idx="2">
                  <c:v>DMFC</c:v>
                </c:pt>
                <c:pt idx="3">
                  <c:v>PAFC</c:v>
                </c:pt>
                <c:pt idx="4">
                  <c:v>MCFC</c:v>
                </c:pt>
                <c:pt idx="5">
                  <c:v>SOFC</c:v>
                </c:pt>
              </c:strCache>
            </c:strRef>
          </c:cat>
          <c:val>
            <c:numRef>
              <c:f>Feuil1!$C$2:$C$7</c:f>
              <c:numCache>
                <c:formatCode>General</c:formatCode>
                <c:ptCount val="6"/>
                <c:pt idx="0">
                  <c:v>50</c:v>
                </c:pt>
                <c:pt idx="1">
                  <c:v>160</c:v>
                </c:pt>
                <c:pt idx="2">
                  <c:v>70</c:v>
                </c:pt>
                <c:pt idx="3">
                  <c:v>10</c:v>
                </c:pt>
                <c:pt idx="4">
                  <c:v>10</c:v>
                </c:pt>
                <c:pt idx="5">
                  <c:v>3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53502016"/>
        <c:axId val="1253500928"/>
      </c:barChart>
      <c:catAx>
        <c:axId val="1253502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3500928"/>
        <c:crosses val="autoZero"/>
        <c:auto val="1"/>
        <c:lblAlgn val="ctr"/>
        <c:lblOffset val="100"/>
        <c:noMultiLvlLbl val="0"/>
      </c:catAx>
      <c:valAx>
        <c:axId val="1253500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°C</a:t>
                </a:r>
              </a:p>
            </c:rich>
          </c:tx>
          <c:layout>
            <c:manualLayout>
              <c:xMode val="edge"/>
              <c:yMode val="edge"/>
              <c:x val="5.126262626262626E-2"/>
              <c:y val="3.624980579085072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3502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Typical</a:t>
            </a:r>
            <a:r>
              <a:rPr lang="fr-FR" baseline="0"/>
              <a:t> Output Power</a:t>
            </a:r>
            <a:r>
              <a:rPr lang="fr-FR"/>
              <a:t>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B$11:$B$18</c:f>
              <c:numCache>
                <c:formatCode>General</c:formatCode>
                <c:ptCount val="8"/>
                <c:pt idx="0">
                  <c:v>1</c:v>
                </c:pt>
                <c:pt idx="1">
                  <c:v>1E-3</c:v>
                </c:pt>
                <c:pt idx="2">
                  <c:v>0.1</c:v>
                </c:pt>
                <c:pt idx="3">
                  <c:v>1</c:v>
                </c:pt>
                <c:pt idx="4">
                  <c:v>1E-3</c:v>
                </c:pt>
                <c:pt idx="5">
                  <c:v>25</c:v>
                </c:pt>
                <c:pt idx="6">
                  <c:v>50</c:v>
                </c:pt>
                <c:pt idx="7">
                  <c:v>1E-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Feuil1!$A$11:$A$18</c:f>
              <c:strCache>
                <c:ptCount val="8"/>
                <c:pt idx="0">
                  <c:v>PEM WC</c:v>
                </c:pt>
                <c:pt idx="1">
                  <c:v>PEM AC</c:v>
                </c:pt>
                <c:pt idx="2">
                  <c:v>HT PEM</c:v>
                </c:pt>
                <c:pt idx="3">
                  <c:v>AFC</c:v>
                </c:pt>
                <c:pt idx="4">
                  <c:v>DMFC</c:v>
                </c:pt>
                <c:pt idx="5">
                  <c:v>PAFC</c:v>
                </c:pt>
                <c:pt idx="6">
                  <c:v>MCFC</c:v>
                </c:pt>
                <c:pt idx="7">
                  <c:v>SOFC</c:v>
                </c:pt>
              </c:strCache>
            </c:strRef>
          </c:cat>
          <c:val>
            <c:numRef>
              <c:f>Feuil1!$C$11:$C$18</c:f>
              <c:numCache>
                <c:formatCode>General</c:formatCode>
                <c:ptCount val="8"/>
                <c:pt idx="0">
                  <c:v>99</c:v>
                </c:pt>
                <c:pt idx="1">
                  <c:v>0.999</c:v>
                </c:pt>
                <c:pt idx="2">
                  <c:v>9.9</c:v>
                </c:pt>
                <c:pt idx="3">
                  <c:v>4</c:v>
                </c:pt>
                <c:pt idx="4">
                  <c:v>0.999</c:v>
                </c:pt>
                <c:pt idx="5">
                  <c:v>100</c:v>
                </c:pt>
                <c:pt idx="6">
                  <c:v>75</c:v>
                </c:pt>
                <c:pt idx="7">
                  <c:v>124.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53491136"/>
        <c:axId val="1253493312"/>
      </c:barChart>
      <c:catAx>
        <c:axId val="1253491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3493312"/>
        <c:crosses val="autoZero"/>
        <c:auto val="1"/>
        <c:lblAlgn val="ctr"/>
        <c:lblOffset val="100"/>
        <c:noMultiLvlLbl val="0"/>
      </c:catAx>
      <c:valAx>
        <c:axId val="125349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W</a:t>
                </a:r>
              </a:p>
            </c:rich>
          </c:tx>
          <c:layout>
            <c:manualLayout>
              <c:xMode val="edge"/>
              <c:yMode val="edge"/>
              <c:x val="6.7676767676767668E-2"/>
              <c:y val="4.256393365193991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>
                <a:lumMod val="50000"/>
                <a:lumOff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3491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E30588-1614-4F1A-B863-E835765ED56C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4BC937DE-DF2D-4FFA-B88A-E5338D433781}">
      <dgm:prSet phldrT="[Texte]" custT="1"/>
      <dgm:spPr/>
      <dgm:t>
        <a:bodyPr/>
        <a:lstStyle/>
        <a:p>
          <a:r>
            <a:rPr lang="fr-FR" sz="2000" b="0" i="0" u="none" dirty="0" err="1" smtClean="0"/>
            <a:t>Resources</a:t>
          </a:r>
          <a:endParaRPr lang="fr-FR" sz="1700" i="0" dirty="0"/>
        </a:p>
      </dgm:t>
    </dgm:pt>
    <dgm:pt modelId="{1835388E-52BA-4E72-8792-3A12EDB4C03B}" type="parTrans" cxnId="{B5C73BD3-7E4C-40C2-A95E-ADF73D8B2256}">
      <dgm:prSet/>
      <dgm:spPr/>
      <dgm:t>
        <a:bodyPr/>
        <a:lstStyle/>
        <a:p>
          <a:endParaRPr lang="fr-FR"/>
        </a:p>
      </dgm:t>
    </dgm:pt>
    <dgm:pt modelId="{F59B1304-AA1E-4810-9E72-0861E45F8AE6}" type="sibTrans" cxnId="{B5C73BD3-7E4C-40C2-A95E-ADF73D8B2256}">
      <dgm:prSet/>
      <dgm:spPr/>
      <dgm:t>
        <a:bodyPr/>
        <a:lstStyle/>
        <a:p>
          <a:endParaRPr lang="fr-FR"/>
        </a:p>
      </dgm:t>
    </dgm:pt>
    <dgm:pt modelId="{5D5A5A7A-2479-432D-B9E6-B45F78D27CE5}">
      <dgm:prSet phldrT="[Texte]" custT="1"/>
      <dgm:spPr/>
      <dgm:t>
        <a:bodyPr/>
        <a:lstStyle/>
        <a:p>
          <a:r>
            <a:rPr lang="fr-FR" sz="1300" b="0" i="0" u="none" strike="sngStrike" dirty="0" smtClean="0"/>
            <a:t>4 Team </a:t>
          </a:r>
          <a:r>
            <a:rPr lang="fr-FR" sz="1300" b="0" i="0" u="none" strike="sngStrike" dirty="0" err="1" smtClean="0"/>
            <a:t>members</a:t>
          </a:r>
          <a:endParaRPr lang="fr-FR" sz="1300" b="0" i="0" u="none" strike="sngStrike" dirty="0"/>
        </a:p>
      </dgm:t>
    </dgm:pt>
    <dgm:pt modelId="{AF8022CA-2430-4D45-AF80-C8A2250D1DDE}" type="parTrans" cxnId="{6FD66FB2-4BBD-41E5-8B29-C08F0C2F1235}">
      <dgm:prSet/>
      <dgm:spPr/>
      <dgm:t>
        <a:bodyPr/>
        <a:lstStyle/>
        <a:p>
          <a:endParaRPr lang="fr-FR"/>
        </a:p>
      </dgm:t>
    </dgm:pt>
    <dgm:pt modelId="{453A98B2-D262-4DFF-9306-9A4A4C5EA18E}" type="sibTrans" cxnId="{6FD66FB2-4BBD-41E5-8B29-C08F0C2F1235}">
      <dgm:prSet/>
      <dgm:spPr/>
      <dgm:t>
        <a:bodyPr/>
        <a:lstStyle/>
        <a:p>
          <a:endParaRPr lang="fr-FR"/>
        </a:p>
      </dgm:t>
    </dgm:pt>
    <dgm:pt modelId="{A6A559D5-1DBD-4A1B-9C84-11DD56731C42}">
      <dgm:prSet phldrT="[Texte]" custT="1"/>
      <dgm:spPr/>
      <dgm:t>
        <a:bodyPr/>
        <a:lstStyle/>
        <a:p>
          <a:r>
            <a:rPr lang="fr-FR" sz="2000" b="0" i="0" u="none" dirty="0" err="1" smtClean="0"/>
            <a:t>Activities</a:t>
          </a:r>
          <a:endParaRPr lang="fr-FR" sz="1700" dirty="0"/>
        </a:p>
      </dgm:t>
    </dgm:pt>
    <dgm:pt modelId="{E9CD7B0A-A9C5-40E3-8CD5-A97713D4689B}" type="parTrans" cxnId="{0C3CBF50-B7AD-4EDC-BE45-297706ED79D1}">
      <dgm:prSet/>
      <dgm:spPr/>
      <dgm:t>
        <a:bodyPr/>
        <a:lstStyle/>
        <a:p>
          <a:endParaRPr lang="fr-FR"/>
        </a:p>
      </dgm:t>
    </dgm:pt>
    <dgm:pt modelId="{F60A93E9-AA93-4486-A62B-5CD6148AEC90}" type="sibTrans" cxnId="{0C3CBF50-B7AD-4EDC-BE45-297706ED79D1}">
      <dgm:prSet/>
      <dgm:spPr/>
      <dgm:t>
        <a:bodyPr/>
        <a:lstStyle/>
        <a:p>
          <a:endParaRPr lang="fr-FR"/>
        </a:p>
      </dgm:t>
    </dgm:pt>
    <dgm:pt modelId="{D5D44B7F-AA41-424D-A05E-93AA86CAC2AD}">
      <dgm:prSet phldrT="[Texte]" custT="1"/>
      <dgm:spPr/>
      <dgm:t>
        <a:bodyPr/>
        <a:lstStyle/>
        <a:p>
          <a:r>
            <a:rPr lang="fr-FR" sz="1300" b="0" i="0" u="none" strike="sngStrike" smtClean="0"/>
            <a:t>Read IAR, extract structure</a:t>
          </a:r>
          <a:endParaRPr lang="fr-FR" sz="1300" b="0" i="0" u="none" strike="sngStrike" dirty="0"/>
        </a:p>
      </dgm:t>
    </dgm:pt>
    <dgm:pt modelId="{7D6CC85D-1A55-48FC-8B24-98362ACCB633}" type="parTrans" cxnId="{95477E30-4688-40A7-B74E-F4BEC8BFC79F}">
      <dgm:prSet/>
      <dgm:spPr/>
      <dgm:t>
        <a:bodyPr/>
        <a:lstStyle/>
        <a:p>
          <a:endParaRPr lang="fr-FR"/>
        </a:p>
      </dgm:t>
    </dgm:pt>
    <dgm:pt modelId="{B6529680-4D05-4FBF-A607-3BB1FC919F3C}" type="sibTrans" cxnId="{95477E30-4688-40A7-B74E-F4BEC8BFC79F}">
      <dgm:prSet/>
      <dgm:spPr/>
      <dgm:t>
        <a:bodyPr/>
        <a:lstStyle/>
        <a:p>
          <a:endParaRPr lang="fr-FR"/>
        </a:p>
      </dgm:t>
    </dgm:pt>
    <dgm:pt modelId="{173A95D6-627F-4EE4-B440-3E9FBF53A473}">
      <dgm:prSet phldrT="[Texte]" custT="1"/>
      <dgm:spPr/>
      <dgm:t>
        <a:bodyPr/>
        <a:lstStyle/>
        <a:p>
          <a:r>
            <a:rPr lang="fr-FR" sz="2000" dirty="0" err="1" smtClean="0"/>
            <a:t>Outcomes</a:t>
          </a:r>
          <a:endParaRPr lang="fr-FR" sz="1700" dirty="0"/>
        </a:p>
      </dgm:t>
    </dgm:pt>
    <dgm:pt modelId="{EF491163-C474-4FE6-9611-CBC8688EE962}" type="parTrans" cxnId="{5547B623-2397-4102-849D-E1933C084766}">
      <dgm:prSet/>
      <dgm:spPr/>
      <dgm:t>
        <a:bodyPr/>
        <a:lstStyle/>
        <a:p>
          <a:endParaRPr lang="fr-FR"/>
        </a:p>
      </dgm:t>
    </dgm:pt>
    <dgm:pt modelId="{A86BF36B-FF95-4A8D-A3B3-8897AC9FD386}" type="sibTrans" cxnId="{5547B623-2397-4102-849D-E1933C084766}">
      <dgm:prSet/>
      <dgm:spPr/>
      <dgm:t>
        <a:bodyPr/>
        <a:lstStyle/>
        <a:p>
          <a:endParaRPr lang="fr-FR"/>
        </a:p>
      </dgm:t>
    </dgm:pt>
    <dgm:pt modelId="{D06940CB-7C21-4684-9A28-0F376CFC6BB8}">
      <dgm:prSet phldrT="[Texte]"/>
      <dgm:spPr/>
      <dgm:t>
        <a:bodyPr/>
        <a:lstStyle/>
        <a:p>
          <a:r>
            <a:rPr lang="fr-FR" sz="1300" b="0" i="0" u="none" dirty="0" smtClean="0"/>
            <a:t>IAR</a:t>
          </a:r>
          <a:endParaRPr lang="fr-FR" sz="1300" dirty="0"/>
        </a:p>
      </dgm:t>
    </dgm:pt>
    <dgm:pt modelId="{B6547EBC-6C49-4161-BCE7-441B352A2CAF}" type="parTrans" cxnId="{E27A3E35-0074-4994-8618-9A87552FAD80}">
      <dgm:prSet/>
      <dgm:spPr/>
      <dgm:t>
        <a:bodyPr/>
        <a:lstStyle/>
        <a:p>
          <a:endParaRPr lang="fr-FR"/>
        </a:p>
      </dgm:t>
    </dgm:pt>
    <dgm:pt modelId="{725F1AA7-33C5-4E46-B6D5-297EACADC6A4}" type="sibTrans" cxnId="{E27A3E35-0074-4994-8618-9A87552FAD80}">
      <dgm:prSet/>
      <dgm:spPr/>
      <dgm:t>
        <a:bodyPr/>
        <a:lstStyle/>
        <a:p>
          <a:endParaRPr lang="fr-FR"/>
        </a:p>
      </dgm:t>
    </dgm:pt>
    <dgm:pt modelId="{22B59ABE-7B41-47B6-A407-81A19262CE66}">
      <dgm:prSet custT="1"/>
      <dgm:spPr/>
      <dgm:t>
        <a:bodyPr/>
        <a:lstStyle/>
        <a:p>
          <a:r>
            <a:rPr lang="fr-FR" sz="1300" b="0" i="0" u="none" strike="sngStrike" dirty="0" err="1" smtClean="0"/>
            <a:t>Lab</a:t>
          </a:r>
          <a:r>
            <a:rPr lang="fr-FR" sz="1300" b="0" i="0" u="none" strike="sngStrike" dirty="0" smtClean="0"/>
            <a:t> &amp; </a:t>
          </a:r>
          <a:r>
            <a:rPr lang="fr-FR" sz="1300" b="0" i="0" u="none" strike="sngStrike" dirty="0" err="1" smtClean="0"/>
            <a:t>Supervisor</a:t>
          </a:r>
          <a:endParaRPr lang="fr-FR" sz="1300" b="0" i="0" u="none" strike="sngStrike" dirty="0"/>
        </a:p>
      </dgm:t>
    </dgm:pt>
    <dgm:pt modelId="{FFC8A0A0-DA05-4C51-A6DF-654FC9074ED9}" type="parTrans" cxnId="{72583967-306D-4D3C-ADE0-5F735D1217A6}">
      <dgm:prSet/>
      <dgm:spPr/>
      <dgm:t>
        <a:bodyPr/>
        <a:lstStyle/>
        <a:p>
          <a:endParaRPr lang="fr-FR"/>
        </a:p>
      </dgm:t>
    </dgm:pt>
    <dgm:pt modelId="{01077D91-D154-4F19-86EA-A3B70045744D}" type="sibTrans" cxnId="{72583967-306D-4D3C-ADE0-5F735D1217A6}">
      <dgm:prSet/>
      <dgm:spPr/>
      <dgm:t>
        <a:bodyPr/>
        <a:lstStyle/>
        <a:p>
          <a:endParaRPr lang="fr-FR"/>
        </a:p>
      </dgm:t>
    </dgm:pt>
    <dgm:pt modelId="{E66BEFBB-91E6-4BA8-BDAD-7EE83CE7BD62}">
      <dgm:prSet custT="1"/>
      <dgm:spPr/>
      <dgm:t>
        <a:bodyPr/>
        <a:lstStyle/>
        <a:p>
          <a:r>
            <a:rPr lang="fr-FR" sz="1300" b="0" i="0" u="none" strike="sngStrike" dirty="0" smtClean="0"/>
            <a:t>Documentation about IAR</a:t>
          </a:r>
          <a:endParaRPr lang="fr-FR" sz="1300" b="0" i="0" u="none" strike="sngStrike" dirty="0"/>
        </a:p>
      </dgm:t>
    </dgm:pt>
    <dgm:pt modelId="{87C757B1-63BC-4E3D-9FCC-639033204A74}" type="parTrans" cxnId="{89584823-BCEA-4DBA-9C3D-6238F441635E}">
      <dgm:prSet/>
      <dgm:spPr/>
      <dgm:t>
        <a:bodyPr/>
        <a:lstStyle/>
        <a:p>
          <a:endParaRPr lang="fr-FR"/>
        </a:p>
      </dgm:t>
    </dgm:pt>
    <dgm:pt modelId="{8C8A6D43-4DAE-480F-A5CB-A86932B02202}" type="sibTrans" cxnId="{89584823-BCEA-4DBA-9C3D-6238F441635E}">
      <dgm:prSet/>
      <dgm:spPr/>
      <dgm:t>
        <a:bodyPr/>
        <a:lstStyle/>
        <a:p>
          <a:endParaRPr lang="fr-FR"/>
        </a:p>
      </dgm:t>
    </dgm:pt>
    <dgm:pt modelId="{DF67D3F8-523E-4C91-BB8A-E88FF3BFFE71}">
      <dgm:prSet custT="1"/>
      <dgm:spPr/>
      <dgm:t>
        <a:bodyPr/>
        <a:lstStyle/>
        <a:p>
          <a:r>
            <a:rPr lang="fr-FR" sz="1300" b="0" i="0" u="none" dirty="0" smtClean="0"/>
            <a:t>Documentation about fuel </a:t>
          </a:r>
          <a:r>
            <a:rPr lang="fr-FR" sz="1300" b="0" i="0" u="none" dirty="0" err="1" smtClean="0"/>
            <a:t>cells</a:t>
          </a:r>
          <a:endParaRPr lang="fr-FR" sz="1300" b="0" i="0" u="none" dirty="0"/>
        </a:p>
      </dgm:t>
    </dgm:pt>
    <dgm:pt modelId="{776E9636-B39C-4C43-9485-EA8BE7D27246}" type="parTrans" cxnId="{A03E7F38-CE1C-495F-BAEA-335F84444089}">
      <dgm:prSet/>
      <dgm:spPr/>
      <dgm:t>
        <a:bodyPr/>
        <a:lstStyle/>
        <a:p>
          <a:endParaRPr lang="fr-FR"/>
        </a:p>
      </dgm:t>
    </dgm:pt>
    <dgm:pt modelId="{3A784D4E-F6F9-4F82-8C2D-28CB5494BDA9}" type="sibTrans" cxnId="{A03E7F38-CE1C-495F-BAEA-335F84444089}">
      <dgm:prSet/>
      <dgm:spPr/>
      <dgm:t>
        <a:bodyPr/>
        <a:lstStyle/>
        <a:p>
          <a:endParaRPr lang="fr-FR"/>
        </a:p>
      </dgm:t>
    </dgm:pt>
    <dgm:pt modelId="{2C240D2F-E71A-43C1-9CF6-01F5C8127177}">
      <dgm:prSet custT="1"/>
      <dgm:spPr/>
      <dgm:t>
        <a:bodyPr/>
        <a:lstStyle/>
        <a:p>
          <a:r>
            <a:rPr lang="fr-FR" sz="1300" b="0" i="0" u="none" strike="sngStrike" dirty="0" smtClean="0"/>
            <a:t>Office supplies</a:t>
          </a:r>
          <a:endParaRPr lang="fr-FR" sz="1300" b="0" i="0" u="none" strike="sngStrike" dirty="0"/>
        </a:p>
      </dgm:t>
    </dgm:pt>
    <dgm:pt modelId="{C0188AC4-A908-47B5-8DE7-AF4DD94CF073}" type="parTrans" cxnId="{27099ECE-98EC-4745-8572-5BDA4D0605BF}">
      <dgm:prSet/>
      <dgm:spPr/>
      <dgm:t>
        <a:bodyPr/>
        <a:lstStyle/>
        <a:p>
          <a:endParaRPr lang="fr-FR"/>
        </a:p>
      </dgm:t>
    </dgm:pt>
    <dgm:pt modelId="{891E9F7B-9985-40C1-8405-B72318407D6E}" type="sibTrans" cxnId="{27099ECE-98EC-4745-8572-5BDA4D0605BF}">
      <dgm:prSet/>
      <dgm:spPr/>
      <dgm:t>
        <a:bodyPr/>
        <a:lstStyle/>
        <a:p>
          <a:endParaRPr lang="fr-FR"/>
        </a:p>
      </dgm:t>
    </dgm:pt>
    <dgm:pt modelId="{08CB5A2F-393F-464E-A882-D9ED7D44C396}">
      <dgm:prSet phldrT="[Texte]" custT="1"/>
      <dgm:spPr/>
      <dgm:t>
        <a:bodyPr/>
        <a:lstStyle/>
        <a:p>
          <a:endParaRPr lang="fr-FR" sz="1300" b="0" i="0" u="none" dirty="0"/>
        </a:p>
      </dgm:t>
    </dgm:pt>
    <dgm:pt modelId="{5887957B-0BDB-40DD-B8EC-5B47EB70F435}" type="parTrans" cxnId="{FC72A840-6E04-4E04-A82C-A8427ACEBB0B}">
      <dgm:prSet/>
      <dgm:spPr/>
      <dgm:t>
        <a:bodyPr/>
        <a:lstStyle/>
        <a:p>
          <a:endParaRPr lang="fr-FR"/>
        </a:p>
      </dgm:t>
    </dgm:pt>
    <dgm:pt modelId="{11C585BF-CB51-49FC-9361-F99BABB0ECCA}" type="sibTrans" cxnId="{FC72A840-6E04-4E04-A82C-A8427ACEBB0B}">
      <dgm:prSet/>
      <dgm:spPr/>
      <dgm:t>
        <a:bodyPr/>
        <a:lstStyle/>
        <a:p>
          <a:endParaRPr lang="fr-FR"/>
        </a:p>
      </dgm:t>
    </dgm:pt>
    <dgm:pt modelId="{C9B12C90-8B57-400E-AFDB-85B1CC8B63C9}">
      <dgm:prSet phldrT="[Texte]" custT="1"/>
      <dgm:spPr/>
      <dgm:t>
        <a:bodyPr/>
        <a:lstStyle/>
        <a:p>
          <a:r>
            <a:rPr lang="fr-FR" sz="2000" dirty="0" smtClean="0"/>
            <a:t>Outputs</a:t>
          </a:r>
          <a:endParaRPr lang="fr-FR" sz="1700" dirty="0"/>
        </a:p>
      </dgm:t>
    </dgm:pt>
    <dgm:pt modelId="{56DB51E0-DF7A-4B42-ACCE-4C7D43E700A1}" type="parTrans" cxnId="{9DB96096-1C57-4336-B9DC-0ACE8F45FEB6}">
      <dgm:prSet/>
      <dgm:spPr/>
      <dgm:t>
        <a:bodyPr/>
        <a:lstStyle/>
        <a:p>
          <a:endParaRPr lang="fr-FR"/>
        </a:p>
      </dgm:t>
    </dgm:pt>
    <dgm:pt modelId="{B42BB320-369F-4AE7-A909-6BE85982F83C}" type="sibTrans" cxnId="{9DB96096-1C57-4336-B9DC-0ACE8F45FEB6}">
      <dgm:prSet/>
      <dgm:spPr/>
      <dgm:t>
        <a:bodyPr/>
        <a:lstStyle/>
        <a:p>
          <a:endParaRPr lang="fr-FR"/>
        </a:p>
      </dgm:t>
    </dgm:pt>
    <dgm:pt modelId="{26C7AD60-0846-4829-95EF-6583E73D0D36}">
      <dgm:prSet phldrT="[Texte]"/>
      <dgm:spPr/>
      <dgm:t>
        <a:bodyPr/>
        <a:lstStyle/>
        <a:p>
          <a:r>
            <a:rPr lang="en-US" sz="1300" b="0" i="0" u="none" dirty="0" smtClean="0"/>
            <a:t>Have knowledge about global fuel cell industry (e.g. technology, application, manufacturers, risks, opportunities</a:t>
          </a:r>
          <a:endParaRPr lang="fr-FR" sz="1300" dirty="0"/>
        </a:p>
      </dgm:t>
    </dgm:pt>
    <dgm:pt modelId="{EAAAA668-267A-43EB-B99E-EE7ECDB0FF43}" type="parTrans" cxnId="{81214B5E-1E77-4401-A8B2-667E0A6FC00E}">
      <dgm:prSet/>
      <dgm:spPr/>
      <dgm:t>
        <a:bodyPr/>
        <a:lstStyle/>
        <a:p>
          <a:endParaRPr lang="fr-FR"/>
        </a:p>
      </dgm:t>
    </dgm:pt>
    <dgm:pt modelId="{1B670C0F-69C8-493E-97A2-A21B8EEA14C6}" type="sibTrans" cxnId="{81214B5E-1E77-4401-A8B2-667E0A6FC00E}">
      <dgm:prSet/>
      <dgm:spPr/>
      <dgm:t>
        <a:bodyPr/>
        <a:lstStyle/>
        <a:p>
          <a:endParaRPr lang="fr-FR"/>
        </a:p>
      </dgm:t>
    </dgm:pt>
    <dgm:pt modelId="{CE19F13A-CB44-4A8D-A9DE-3451DBC6BCD6}">
      <dgm:prSet phldrT="[Texte]"/>
      <dgm:spPr/>
      <dgm:t>
        <a:bodyPr/>
        <a:lstStyle/>
        <a:p>
          <a:endParaRPr lang="fr-FR" sz="1300"/>
        </a:p>
      </dgm:t>
    </dgm:pt>
    <dgm:pt modelId="{DE6CC97B-3969-4183-9935-0C842BC9FAEF}" type="parTrans" cxnId="{41C06A62-37A2-41B4-A3F8-4E2FC012162B}">
      <dgm:prSet/>
      <dgm:spPr/>
      <dgm:t>
        <a:bodyPr/>
        <a:lstStyle/>
        <a:p>
          <a:endParaRPr lang="fr-FR"/>
        </a:p>
      </dgm:t>
    </dgm:pt>
    <dgm:pt modelId="{2B0DBB9F-FCD7-4D62-A977-AC24BBB702DE}" type="sibTrans" cxnId="{41C06A62-37A2-41B4-A3F8-4E2FC012162B}">
      <dgm:prSet/>
      <dgm:spPr/>
      <dgm:t>
        <a:bodyPr/>
        <a:lstStyle/>
        <a:p>
          <a:endParaRPr lang="fr-FR"/>
        </a:p>
      </dgm:t>
    </dgm:pt>
    <dgm:pt modelId="{924F9493-B6F4-4681-98A9-DF6C585A595D}">
      <dgm:prSet custT="1"/>
      <dgm:spPr/>
      <dgm:t>
        <a:bodyPr/>
        <a:lstStyle/>
        <a:p>
          <a:r>
            <a:rPr lang="en-US" sz="1300" b="0" i="0" u="none" strike="sngStrike" smtClean="0"/>
            <a:t>Build a structure for our IAR</a:t>
          </a:r>
          <a:endParaRPr lang="en-US" sz="1300" b="0" i="0" u="none" strike="sngStrike" dirty="0"/>
        </a:p>
      </dgm:t>
    </dgm:pt>
    <dgm:pt modelId="{A520016C-8EAA-4AE5-82EF-925B6EBECA66}" type="parTrans" cxnId="{9DEDE0B0-F2D5-44CC-BCD4-4B0A8CD8E28A}">
      <dgm:prSet/>
      <dgm:spPr/>
      <dgm:t>
        <a:bodyPr/>
        <a:lstStyle/>
        <a:p>
          <a:endParaRPr lang="fr-FR"/>
        </a:p>
      </dgm:t>
    </dgm:pt>
    <dgm:pt modelId="{DC434730-29E2-4201-BB96-5CE99D4247F9}" type="sibTrans" cxnId="{9DEDE0B0-F2D5-44CC-BCD4-4B0A8CD8E28A}">
      <dgm:prSet/>
      <dgm:spPr/>
      <dgm:t>
        <a:bodyPr/>
        <a:lstStyle/>
        <a:p>
          <a:endParaRPr lang="fr-FR"/>
        </a:p>
      </dgm:t>
    </dgm:pt>
    <dgm:pt modelId="{127057A1-3005-47EE-9DA0-5BB7EF177F1C}">
      <dgm:prSet custT="1"/>
      <dgm:spPr/>
      <dgm:t>
        <a:bodyPr/>
        <a:lstStyle/>
        <a:p>
          <a:r>
            <a:rPr lang="en-US" sz="1600" b="1" i="0" u="none" dirty="0" smtClean="0"/>
            <a:t>Read about fuel cell and surrounding industry</a:t>
          </a:r>
          <a:endParaRPr lang="en-US" sz="1600" b="1" i="0" u="none" dirty="0"/>
        </a:p>
      </dgm:t>
    </dgm:pt>
    <dgm:pt modelId="{9D16DEC4-F8E8-4856-8AEA-113C6AD38A38}" type="parTrans" cxnId="{DA694487-5C68-4FCE-8B32-F1A86F93E8B1}">
      <dgm:prSet/>
      <dgm:spPr/>
      <dgm:t>
        <a:bodyPr/>
        <a:lstStyle/>
        <a:p>
          <a:endParaRPr lang="fr-FR"/>
        </a:p>
      </dgm:t>
    </dgm:pt>
    <dgm:pt modelId="{6C12C3BE-D1E7-4B42-A1DE-7B098BAFB04F}" type="sibTrans" cxnId="{DA694487-5C68-4FCE-8B32-F1A86F93E8B1}">
      <dgm:prSet/>
      <dgm:spPr/>
      <dgm:t>
        <a:bodyPr/>
        <a:lstStyle/>
        <a:p>
          <a:endParaRPr lang="fr-FR"/>
        </a:p>
      </dgm:t>
    </dgm:pt>
    <dgm:pt modelId="{79BB08CC-B1E6-4B7E-AAC7-C38E3794C471}">
      <dgm:prSet custT="1"/>
      <dgm:spPr/>
      <dgm:t>
        <a:bodyPr/>
        <a:lstStyle/>
        <a:p>
          <a:r>
            <a:rPr lang="fr-FR" sz="1600" b="1" i="0" u="none" dirty="0" err="1" smtClean="0"/>
            <a:t>Collect</a:t>
          </a:r>
          <a:r>
            <a:rPr lang="fr-FR" sz="1600" b="1" i="0" u="none" dirty="0" smtClean="0"/>
            <a:t> data</a:t>
          </a:r>
          <a:endParaRPr lang="fr-FR" sz="1600" b="1" i="0" u="none" dirty="0"/>
        </a:p>
      </dgm:t>
    </dgm:pt>
    <dgm:pt modelId="{79FCF712-FC52-4ADC-8363-FF580A03414F}" type="parTrans" cxnId="{EA964E5A-0F21-4B5C-A64D-CA89E6288569}">
      <dgm:prSet/>
      <dgm:spPr/>
      <dgm:t>
        <a:bodyPr/>
        <a:lstStyle/>
        <a:p>
          <a:endParaRPr lang="fr-FR"/>
        </a:p>
      </dgm:t>
    </dgm:pt>
    <dgm:pt modelId="{F81AD888-DC39-470D-9E86-5AFCF642058A}" type="sibTrans" cxnId="{EA964E5A-0F21-4B5C-A64D-CA89E6288569}">
      <dgm:prSet/>
      <dgm:spPr/>
      <dgm:t>
        <a:bodyPr/>
        <a:lstStyle/>
        <a:p>
          <a:endParaRPr lang="fr-FR"/>
        </a:p>
      </dgm:t>
    </dgm:pt>
    <dgm:pt modelId="{7EDB0E82-0C3F-4570-AE44-2ADE5BD8875A}">
      <dgm:prSet/>
      <dgm:spPr/>
      <dgm:t>
        <a:bodyPr/>
        <a:lstStyle/>
        <a:p>
          <a:r>
            <a:rPr lang="fr-FR" sz="1300" b="0" i="0" u="none" dirty="0" smtClean="0"/>
            <a:t>Collaboration </a:t>
          </a:r>
          <a:r>
            <a:rPr lang="fr-FR" sz="1300" b="0" i="0" u="none" dirty="0" err="1" smtClean="0"/>
            <a:t>with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chemistry</a:t>
          </a:r>
          <a:r>
            <a:rPr lang="fr-FR" sz="1300" b="0" i="0" u="none" dirty="0" smtClean="0"/>
            <a:t> </a:t>
          </a:r>
          <a:r>
            <a:rPr lang="fr-FR" sz="1300" b="0" i="0" u="none" dirty="0" err="1" smtClean="0"/>
            <a:t>lab</a:t>
          </a:r>
          <a:endParaRPr lang="fr-FR" sz="1300" dirty="0"/>
        </a:p>
      </dgm:t>
    </dgm:pt>
    <dgm:pt modelId="{8DACBAF6-298B-4E56-85CF-A70C60893CF4}" type="parTrans" cxnId="{860E6A07-10A9-4F32-9CC8-BF5127198212}">
      <dgm:prSet/>
      <dgm:spPr/>
      <dgm:t>
        <a:bodyPr/>
        <a:lstStyle/>
        <a:p>
          <a:endParaRPr lang="fr-FR"/>
        </a:p>
      </dgm:t>
    </dgm:pt>
    <dgm:pt modelId="{C34F397A-67E9-48FF-B84B-B87BFF785F57}" type="sibTrans" cxnId="{860E6A07-10A9-4F32-9CC8-BF5127198212}">
      <dgm:prSet/>
      <dgm:spPr/>
      <dgm:t>
        <a:bodyPr/>
        <a:lstStyle/>
        <a:p>
          <a:endParaRPr lang="fr-FR"/>
        </a:p>
      </dgm:t>
    </dgm:pt>
    <dgm:pt modelId="{A446800D-2712-4870-A860-B80692232F7F}">
      <dgm:prSet/>
      <dgm:spPr/>
      <dgm:t>
        <a:bodyPr/>
        <a:lstStyle/>
        <a:p>
          <a:r>
            <a:rPr lang="en-US" sz="1300" b="0" i="0" u="none" smtClean="0"/>
            <a:t>Being able to identify needs of the market</a:t>
          </a:r>
          <a:endParaRPr lang="en-US" sz="1300"/>
        </a:p>
      </dgm:t>
    </dgm:pt>
    <dgm:pt modelId="{D5CB3F02-2D52-4C7C-B42D-1F2F79D73300}" type="parTrans" cxnId="{AA84AAB7-CA17-40C5-A465-15DA0C289E43}">
      <dgm:prSet/>
      <dgm:spPr/>
      <dgm:t>
        <a:bodyPr/>
        <a:lstStyle/>
        <a:p>
          <a:endParaRPr lang="fr-FR"/>
        </a:p>
      </dgm:t>
    </dgm:pt>
    <dgm:pt modelId="{21E781E9-0AC7-4C2B-9DB1-F96922E5188D}" type="sibTrans" cxnId="{AA84AAB7-CA17-40C5-A465-15DA0C289E43}">
      <dgm:prSet/>
      <dgm:spPr/>
      <dgm:t>
        <a:bodyPr/>
        <a:lstStyle/>
        <a:p>
          <a:endParaRPr lang="fr-FR"/>
        </a:p>
      </dgm:t>
    </dgm:pt>
    <dgm:pt modelId="{340ABA22-01E9-4FF1-993F-9F90A8EDD93C}">
      <dgm:prSet/>
      <dgm:spPr/>
      <dgm:t>
        <a:bodyPr/>
        <a:lstStyle/>
        <a:p>
          <a:r>
            <a:rPr lang="en-US" sz="1300" b="0" i="0" u="none" smtClean="0"/>
            <a:t>Ability to write an IAR</a:t>
          </a:r>
          <a:endParaRPr lang="en-US" sz="1300"/>
        </a:p>
      </dgm:t>
    </dgm:pt>
    <dgm:pt modelId="{5A45E56C-469B-437B-87B6-2731BE76489F}" type="parTrans" cxnId="{E360E79E-4455-477E-AFF0-18B1A6AA90E3}">
      <dgm:prSet/>
      <dgm:spPr/>
      <dgm:t>
        <a:bodyPr/>
        <a:lstStyle/>
        <a:p>
          <a:endParaRPr lang="fr-FR"/>
        </a:p>
      </dgm:t>
    </dgm:pt>
    <dgm:pt modelId="{705F9002-865E-4D4A-9DD4-9FF937E35BC7}" type="sibTrans" cxnId="{E360E79E-4455-477E-AFF0-18B1A6AA90E3}">
      <dgm:prSet/>
      <dgm:spPr/>
      <dgm:t>
        <a:bodyPr/>
        <a:lstStyle/>
        <a:p>
          <a:endParaRPr lang="fr-FR"/>
        </a:p>
      </dgm:t>
    </dgm:pt>
    <dgm:pt modelId="{6F30B221-5C40-4FBA-9427-2F0B5413EADD}">
      <dgm:prSet/>
      <dgm:spPr/>
      <dgm:t>
        <a:bodyPr/>
        <a:lstStyle/>
        <a:p>
          <a:r>
            <a:rPr lang="en-US" sz="1300" b="0" i="0" u="none" dirty="0" smtClean="0"/>
            <a:t>IAR available for other people</a:t>
          </a:r>
          <a:endParaRPr lang="en-US" sz="1300" dirty="0"/>
        </a:p>
      </dgm:t>
    </dgm:pt>
    <dgm:pt modelId="{6A9AA358-48AC-4FC2-9543-0955AE191018}" type="parTrans" cxnId="{8922FE34-5936-40CF-A124-57538CA090E7}">
      <dgm:prSet/>
      <dgm:spPr/>
      <dgm:t>
        <a:bodyPr/>
        <a:lstStyle/>
        <a:p>
          <a:endParaRPr lang="fr-FR"/>
        </a:p>
      </dgm:t>
    </dgm:pt>
    <dgm:pt modelId="{5268864B-A751-4738-994C-C7296370875B}" type="sibTrans" cxnId="{8922FE34-5936-40CF-A124-57538CA090E7}">
      <dgm:prSet/>
      <dgm:spPr/>
      <dgm:t>
        <a:bodyPr/>
        <a:lstStyle/>
        <a:p>
          <a:endParaRPr lang="fr-FR"/>
        </a:p>
      </dgm:t>
    </dgm:pt>
    <dgm:pt modelId="{5F008396-1FAF-4AD2-93C9-694E6D2BF1F8}">
      <dgm:prSet custT="1"/>
      <dgm:spPr/>
      <dgm:t>
        <a:bodyPr/>
        <a:lstStyle/>
        <a:p>
          <a:r>
            <a:rPr lang="fr-FR" sz="1600" b="1" i="0" u="none" dirty="0" err="1" smtClean="0"/>
            <a:t>Interact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with</a:t>
          </a:r>
          <a:r>
            <a:rPr lang="fr-FR" sz="1600" b="1" i="0" u="none" dirty="0" smtClean="0"/>
            <a:t> the </a:t>
          </a:r>
          <a:r>
            <a:rPr lang="fr-FR" sz="1600" b="1" i="0" u="none" dirty="0" err="1" smtClean="0"/>
            <a:t>chemistry</a:t>
          </a:r>
          <a:r>
            <a:rPr lang="fr-FR" sz="1600" b="1" i="0" u="none" dirty="0" smtClean="0"/>
            <a:t> </a:t>
          </a:r>
          <a:r>
            <a:rPr lang="fr-FR" sz="1600" b="1" i="0" u="none" dirty="0" err="1" smtClean="0"/>
            <a:t>lab</a:t>
          </a:r>
          <a:endParaRPr lang="fr-FR" sz="1600" b="1" i="0" u="none" dirty="0"/>
        </a:p>
      </dgm:t>
    </dgm:pt>
    <dgm:pt modelId="{A9C9237E-A9D6-4A17-BD9B-68978D3D5C6D}" type="parTrans" cxnId="{754FCB48-B71B-48F4-8D2E-BEEEB5B5ADDC}">
      <dgm:prSet/>
      <dgm:spPr/>
      <dgm:t>
        <a:bodyPr/>
        <a:lstStyle/>
        <a:p>
          <a:endParaRPr lang="fr-FR"/>
        </a:p>
      </dgm:t>
    </dgm:pt>
    <dgm:pt modelId="{9D00E550-C864-46CD-AE9D-B1AF962526B1}" type="sibTrans" cxnId="{754FCB48-B71B-48F4-8D2E-BEEEB5B5ADDC}">
      <dgm:prSet/>
      <dgm:spPr/>
      <dgm:t>
        <a:bodyPr/>
        <a:lstStyle/>
        <a:p>
          <a:endParaRPr lang="fr-FR"/>
        </a:p>
      </dgm:t>
    </dgm:pt>
    <dgm:pt modelId="{3E78A654-C050-4A6D-AE20-E7E88B2A53F2}" type="pres">
      <dgm:prSet presAssocID="{B0E30588-1614-4F1A-B863-E835765ED56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944459-30FB-4A39-B98C-CA50DEBD0FE0}" type="pres">
      <dgm:prSet presAssocID="{4BC937DE-DF2D-4FFA-B88A-E5338D43378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0494F57-9413-46C6-806C-1F0BC7375A67}" type="pres">
      <dgm:prSet presAssocID="{F59B1304-AA1E-4810-9E72-0861E45F8AE6}" presName="sibTrans" presStyleCnt="0"/>
      <dgm:spPr/>
    </dgm:pt>
    <dgm:pt modelId="{07112225-DBE3-4767-B863-B33AE5135511}" type="pres">
      <dgm:prSet presAssocID="{A6A559D5-1DBD-4A1B-9C84-11DD56731C4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A26F60-B496-4610-8B97-2B9BA126275A}" type="pres">
      <dgm:prSet presAssocID="{F60A93E9-AA93-4486-A62B-5CD6148AEC90}" presName="sibTrans" presStyleCnt="0"/>
      <dgm:spPr/>
    </dgm:pt>
    <dgm:pt modelId="{B790B033-8861-44F9-A411-A64891A1F78D}" type="pres">
      <dgm:prSet presAssocID="{173A95D6-627F-4EE4-B440-3E9FBF53A473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1442F7-FACE-4788-8554-F4C5B5488297}" type="pres">
      <dgm:prSet presAssocID="{A86BF36B-FF95-4A8D-A3B3-8897AC9FD386}" presName="sibTrans" presStyleCnt="0"/>
      <dgm:spPr/>
    </dgm:pt>
    <dgm:pt modelId="{5F91C283-CBEC-401B-9811-6B9815385BF4}" type="pres">
      <dgm:prSet presAssocID="{C9B12C90-8B57-400E-AFDB-85B1CC8B63C9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A964E5A-0F21-4B5C-A64D-CA89E6288569}" srcId="{A6A559D5-1DBD-4A1B-9C84-11DD56731C42}" destId="{79BB08CC-B1E6-4B7E-AAC7-C38E3794C471}" srcOrd="3" destOrd="0" parTransId="{79FCF712-FC52-4ADC-8363-FF580A03414F}" sibTransId="{F81AD888-DC39-470D-9E86-5AFCF642058A}"/>
    <dgm:cxn modelId="{A03E7F38-CE1C-495F-BAEA-335F84444089}" srcId="{4BC937DE-DF2D-4FFA-B88A-E5338D433781}" destId="{DF67D3F8-523E-4C91-BB8A-E88FF3BFFE71}" srcOrd="3" destOrd="0" parTransId="{776E9636-B39C-4C43-9485-EA8BE7D27246}" sibTransId="{3A784D4E-F6F9-4F82-8C2D-28CB5494BDA9}"/>
    <dgm:cxn modelId="{1809C95E-1EA5-46AC-AD82-F2894AFE74E2}" type="presOf" srcId="{127057A1-3005-47EE-9DA0-5BB7EF177F1C}" destId="{07112225-DBE3-4767-B863-B33AE5135511}" srcOrd="0" destOrd="3" presId="urn:microsoft.com/office/officeart/2005/8/layout/hList6"/>
    <dgm:cxn modelId="{743E318E-B156-4431-A0C3-7103564A4ADC}" type="presOf" srcId="{5F008396-1FAF-4AD2-93C9-694E6D2BF1F8}" destId="{07112225-DBE3-4767-B863-B33AE5135511}" srcOrd="0" destOrd="5" presId="urn:microsoft.com/office/officeart/2005/8/layout/hList6"/>
    <dgm:cxn modelId="{470A3A6B-C63B-40C3-91A5-8620FA4E0349}" type="presOf" srcId="{D5D44B7F-AA41-424D-A05E-93AA86CAC2AD}" destId="{07112225-DBE3-4767-B863-B33AE5135511}" srcOrd="0" destOrd="1" presId="urn:microsoft.com/office/officeart/2005/8/layout/hList6"/>
    <dgm:cxn modelId="{E27A3E35-0074-4994-8618-9A87552FAD80}" srcId="{173A95D6-627F-4EE4-B440-3E9FBF53A473}" destId="{D06940CB-7C21-4684-9A28-0F376CFC6BB8}" srcOrd="0" destOrd="0" parTransId="{B6547EBC-6C49-4161-BCE7-441B352A2CAF}" sibTransId="{725F1AA7-33C5-4E46-B6D5-297EACADC6A4}"/>
    <dgm:cxn modelId="{BE0E4A24-D68E-49EB-B8CA-BA88444236A4}" type="presOf" srcId="{B0E30588-1614-4F1A-B863-E835765ED56C}" destId="{3E78A654-C050-4A6D-AE20-E7E88B2A53F2}" srcOrd="0" destOrd="0" presId="urn:microsoft.com/office/officeart/2005/8/layout/hList6"/>
    <dgm:cxn modelId="{1864BF73-87D8-4874-A185-D574A847BBCB}" type="presOf" srcId="{2C240D2F-E71A-43C1-9CF6-01F5C8127177}" destId="{E2944459-30FB-4A39-B98C-CA50DEBD0FE0}" srcOrd="0" destOrd="5" presId="urn:microsoft.com/office/officeart/2005/8/layout/hList6"/>
    <dgm:cxn modelId="{0C3CBF50-B7AD-4EDC-BE45-297706ED79D1}" srcId="{B0E30588-1614-4F1A-B863-E835765ED56C}" destId="{A6A559D5-1DBD-4A1B-9C84-11DD56731C42}" srcOrd="1" destOrd="0" parTransId="{E9CD7B0A-A9C5-40E3-8CD5-A97713D4689B}" sibTransId="{F60A93E9-AA93-4486-A62B-5CD6148AEC90}"/>
    <dgm:cxn modelId="{5547B623-2397-4102-849D-E1933C084766}" srcId="{B0E30588-1614-4F1A-B863-E835765ED56C}" destId="{173A95D6-627F-4EE4-B440-3E9FBF53A473}" srcOrd="2" destOrd="0" parTransId="{EF491163-C474-4FE6-9611-CBC8688EE962}" sibTransId="{A86BF36B-FF95-4A8D-A3B3-8897AC9FD386}"/>
    <dgm:cxn modelId="{74FA16FA-49F9-4F2F-8DAE-D6D422AEF478}" type="presOf" srcId="{26C7AD60-0846-4829-95EF-6583E73D0D36}" destId="{5F91C283-CBEC-401B-9811-6B9815385BF4}" srcOrd="0" destOrd="1" presId="urn:microsoft.com/office/officeart/2005/8/layout/hList6"/>
    <dgm:cxn modelId="{EA3AC05E-B006-43C8-B3D1-A64A232EBD56}" type="presOf" srcId="{08CB5A2F-393F-464E-A882-D9ED7D44C396}" destId="{B790B033-8861-44F9-A411-A64891A1F78D}" srcOrd="0" destOrd="3" presId="urn:microsoft.com/office/officeart/2005/8/layout/hList6"/>
    <dgm:cxn modelId="{1290E4ED-2B96-42F8-9A90-827EAE1DAF63}" type="presOf" srcId="{340ABA22-01E9-4FF1-993F-9F90A8EDD93C}" destId="{5F91C283-CBEC-401B-9811-6B9815385BF4}" srcOrd="0" destOrd="3" presId="urn:microsoft.com/office/officeart/2005/8/layout/hList6"/>
    <dgm:cxn modelId="{86F0AF75-F67A-43B1-9E7E-7227881C79ED}" type="presOf" srcId="{C9B12C90-8B57-400E-AFDB-85B1CC8B63C9}" destId="{5F91C283-CBEC-401B-9811-6B9815385BF4}" srcOrd="0" destOrd="0" presId="urn:microsoft.com/office/officeart/2005/8/layout/hList6"/>
    <dgm:cxn modelId="{8C71C3D9-E489-469F-9D5E-705C3DE72BED}" type="presOf" srcId="{79BB08CC-B1E6-4B7E-AAC7-C38E3794C471}" destId="{07112225-DBE3-4767-B863-B33AE5135511}" srcOrd="0" destOrd="4" presId="urn:microsoft.com/office/officeart/2005/8/layout/hList6"/>
    <dgm:cxn modelId="{517131BE-7923-42ED-8D1F-5B6FF1495D78}" type="presOf" srcId="{173A95D6-627F-4EE4-B440-3E9FBF53A473}" destId="{B790B033-8861-44F9-A411-A64891A1F78D}" srcOrd="0" destOrd="0" presId="urn:microsoft.com/office/officeart/2005/8/layout/hList6"/>
    <dgm:cxn modelId="{9DB96096-1C57-4336-B9DC-0ACE8F45FEB6}" srcId="{B0E30588-1614-4F1A-B863-E835765ED56C}" destId="{C9B12C90-8B57-400E-AFDB-85B1CC8B63C9}" srcOrd="3" destOrd="0" parTransId="{56DB51E0-DF7A-4B42-ACCE-4C7D43E700A1}" sibTransId="{B42BB320-369F-4AE7-A909-6BE85982F83C}"/>
    <dgm:cxn modelId="{FC72A840-6E04-4E04-A82C-A8427ACEBB0B}" srcId="{173A95D6-627F-4EE4-B440-3E9FBF53A473}" destId="{08CB5A2F-393F-464E-A882-D9ED7D44C396}" srcOrd="2" destOrd="0" parTransId="{5887957B-0BDB-40DD-B8EC-5B47EB70F435}" sibTransId="{11C585BF-CB51-49FC-9361-F99BABB0ECCA}"/>
    <dgm:cxn modelId="{860E6A07-10A9-4F32-9CC8-BF5127198212}" srcId="{173A95D6-627F-4EE4-B440-3E9FBF53A473}" destId="{7EDB0E82-0C3F-4570-AE44-2ADE5BD8875A}" srcOrd="1" destOrd="0" parTransId="{8DACBAF6-298B-4E56-85CF-A70C60893CF4}" sibTransId="{C34F397A-67E9-48FF-B84B-B87BFF785F57}"/>
    <dgm:cxn modelId="{08B4463C-2C6C-4556-AE04-AEA4501BF73B}" type="presOf" srcId="{D06940CB-7C21-4684-9A28-0F376CFC6BB8}" destId="{B790B033-8861-44F9-A411-A64891A1F78D}" srcOrd="0" destOrd="1" presId="urn:microsoft.com/office/officeart/2005/8/layout/hList6"/>
    <dgm:cxn modelId="{CB320068-49C0-44E1-9D7C-362C47710DB5}" type="presOf" srcId="{5D5A5A7A-2479-432D-B9E6-B45F78D27CE5}" destId="{E2944459-30FB-4A39-B98C-CA50DEBD0FE0}" srcOrd="0" destOrd="1" presId="urn:microsoft.com/office/officeart/2005/8/layout/hList6"/>
    <dgm:cxn modelId="{9DEDE0B0-F2D5-44CC-BCD4-4B0A8CD8E28A}" srcId="{A6A559D5-1DBD-4A1B-9C84-11DD56731C42}" destId="{924F9493-B6F4-4681-98A9-DF6C585A595D}" srcOrd="1" destOrd="0" parTransId="{A520016C-8EAA-4AE5-82EF-925B6EBECA66}" sibTransId="{DC434730-29E2-4201-BB96-5CE99D4247F9}"/>
    <dgm:cxn modelId="{6FD66FB2-4BBD-41E5-8B29-C08F0C2F1235}" srcId="{4BC937DE-DF2D-4FFA-B88A-E5338D433781}" destId="{5D5A5A7A-2479-432D-B9E6-B45F78D27CE5}" srcOrd="0" destOrd="0" parTransId="{AF8022CA-2430-4D45-AF80-C8A2250D1DDE}" sibTransId="{453A98B2-D262-4DFF-9306-9A4A4C5EA18E}"/>
    <dgm:cxn modelId="{81214B5E-1E77-4401-A8B2-667E0A6FC00E}" srcId="{C9B12C90-8B57-400E-AFDB-85B1CC8B63C9}" destId="{26C7AD60-0846-4829-95EF-6583E73D0D36}" srcOrd="0" destOrd="0" parTransId="{EAAAA668-267A-43EB-B99E-EE7ECDB0FF43}" sibTransId="{1B670C0F-69C8-493E-97A2-A21B8EEA14C6}"/>
    <dgm:cxn modelId="{F528C872-65C0-43A0-8947-EA9B4655304F}" type="presOf" srcId="{CE19F13A-CB44-4A8D-A9DE-3451DBC6BCD6}" destId="{5F91C283-CBEC-401B-9811-6B9815385BF4}" srcOrd="0" destOrd="5" presId="urn:microsoft.com/office/officeart/2005/8/layout/hList6"/>
    <dgm:cxn modelId="{DA694487-5C68-4FCE-8B32-F1A86F93E8B1}" srcId="{A6A559D5-1DBD-4A1B-9C84-11DD56731C42}" destId="{127057A1-3005-47EE-9DA0-5BB7EF177F1C}" srcOrd="2" destOrd="0" parTransId="{9D16DEC4-F8E8-4856-8AEA-113C6AD38A38}" sibTransId="{6C12C3BE-D1E7-4B42-A1DE-7B098BAFB04F}"/>
    <dgm:cxn modelId="{E360E79E-4455-477E-AFF0-18B1A6AA90E3}" srcId="{C9B12C90-8B57-400E-AFDB-85B1CC8B63C9}" destId="{340ABA22-01E9-4FF1-993F-9F90A8EDD93C}" srcOrd="2" destOrd="0" parTransId="{5A45E56C-469B-437B-87B6-2731BE76489F}" sibTransId="{705F9002-865E-4D4A-9DD4-9FF937E35BC7}"/>
    <dgm:cxn modelId="{57995A2C-F45F-4932-A7CD-9CC3B201736E}" type="presOf" srcId="{22B59ABE-7B41-47B6-A407-81A19262CE66}" destId="{E2944459-30FB-4A39-B98C-CA50DEBD0FE0}" srcOrd="0" destOrd="2" presId="urn:microsoft.com/office/officeart/2005/8/layout/hList6"/>
    <dgm:cxn modelId="{DF7E9F3F-8CFD-4BCB-86AA-728C3ED8F9B7}" type="presOf" srcId="{A6A559D5-1DBD-4A1B-9C84-11DD56731C42}" destId="{07112225-DBE3-4767-B863-B33AE5135511}" srcOrd="0" destOrd="0" presId="urn:microsoft.com/office/officeart/2005/8/layout/hList6"/>
    <dgm:cxn modelId="{699C0016-5F25-45B5-B274-5690C33CD950}" type="presOf" srcId="{7EDB0E82-0C3F-4570-AE44-2ADE5BD8875A}" destId="{B790B033-8861-44F9-A411-A64891A1F78D}" srcOrd="0" destOrd="2" presId="urn:microsoft.com/office/officeart/2005/8/layout/hList6"/>
    <dgm:cxn modelId="{95477E30-4688-40A7-B74E-F4BEC8BFC79F}" srcId="{A6A559D5-1DBD-4A1B-9C84-11DD56731C42}" destId="{D5D44B7F-AA41-424D-A05E-93AA86CAC2AD}" srcOrd="0" destOrd="0" parTransId="{7D6CC85D-1A55-48FC-8B24-98362ACCB633}" sibTransId="{B6529680-4D05-4FBF-A607-3BB1FC919F3C}"/>
    <dgm:cxn modelId="{720243CF-4D06-40EA-9ED2-BD2B2D82A3B2}" type="presOf" srcId="{4BC937DE-DF2D-4FFA-B88A-E5338D433781}" destId="{E2944459-30FB-4A39-B98C-CA50DEBD0FE0}" srcOrd="0" destOrd="0" presId="urn:microsoft.com/office/officeart/2005/8/layout/hList6"/>
    <dgm:cxn modelId="{89584823-BCEA-4DBA-9C3D-6238F441635E}" srcId="{4BC937DE-DF2D-4FFA-B88A-E5338D433781}" destId="{E66BEFBB-91E6-4BA8-BDAD-7EE83CE7BD62}" srcOrd="2" destOrd="0" parTransId="{87C757B1-63BC-4E3D-9FCC-639033204A74}" sibTransId="{8C8A6D43-4DAE-480F-A5CB-A86932B02202}"/>
    <dgm:cxn modelId="{41C06A62-37A2-41B4-A3F8-4E2FC012162B}" srcId="{C9B12C90-8B57-400E-AFDB-85B1CC8B63C9}" destId="{CE19F13A-CB44-4A8D-A9DE-3451DBC6BCD6}" srcOrd="4" destOrd="0" parTransId="{DE6CC97B-3969-4183-9935-0C842BC9FAEF}" sibTransId="{2B0DBB9F-FCD7-4D62-A977-AC24BBB702DE}"/>
    <dgm:cxn modelId="{190FD0C5-8A59-4966-BF46-056537460E2C}" type="presOf" srcId="{6F30B221-5C40-4FBA-9427-2F0B5413EADD}" destId="{5F91C283-CBEC-401B-9811-6B9815385BF4}" srcOrd="0" destOrd="4" presId="urn:microsoft.com/office/officeart/2005/8/layout/hList6"/>
    <dgm:cxn modelId="{72583967-306D-4D3C-ADE0-5F735D1217A6}" srcId="{4BC937DE-DF2D-4FFA-B88A-E5338D433781}" destId="{22B59ABE-7B41-47B6-A407-81A19262CE66}" srcOrd="1" destOrd="0" parTransId="{FFC8A0A0-DA05-4C51-A6DF-654FC9074ED9}" sibTransId="{01077D91-D154-4F19-86EA-A3B70045744D}"/>
    <dgm:cxn modelId="{27099ECE-98EC-4745-8572-5BDA4D0605BF}" srcId="{4BC937DE-DF2D-4FFA-B88A-E5338D433781}" destId="{2C240D2F-E71A-43C1-9CF6-01F5C8127177}" srcOrd="4" destOrd="0" parTransId="{C0188AC4-A908-47B5-8DE7-AF4DD94CF073}" sibTransId="{891E9F7B-9985-40C1-8405-B72318407D6E}"/>
    <dgm:cxn modelId="{47B7B5F8-B6E5-4FB1-AFC8-A6B78FA7D521}" type="presOf" srcId="{924F9493-B6F4-4681-98A9-DF6C585A595D}" destId="{07112225-DBE3-4767-B863-B33AE5135511}" srcOrd="0" destOrd="2" presId="urn:microsoft.com/office/officeart/2005/8/layout/hList6"/>
    <dgm:cxn modelId="{76D472AE-02BD-485E-BABC-0761DF47E1D4}" type="presOf" srcId="{E66BEFBB-91E6-4BA8-BDAD-7EE83CE7BD62}" destId="{E2944459-30FB-4A39-B98C-CA50DEBD0FE0}" srcOrd="0" destOrd="3" presId="urn:microsoft.com/office/officeart/2005/8/layout/hList6"/>
    <dgm:cxn modelId="{979436B5-FF5C-4A56-A191-7D38FFA3C925}" type="presOf" srcId="{A446800D-2712-4870-A860-B80692232F7F}" destId="{5F91C283-CBEC-401B-9811-6B9815385BF4}" srcOrd="0" destOrd="2" presId="urn:microsoft.com/office/officeart/2005/8/layout/hList6"/>
    <dgm:cxn modelId="{754FCB48-B71B-48F4-8D2E-BEEEB5B5ADDC}" srcId="{A6A559D5-1DBD-4A1B-9C84-11DD56731C42}" destId="{5F008396-1FAF-4AD2-93C9-694E6D2BF1F8}" srcOrd="4" destOrd="0" parTransId="{A9C9237E-A9D6-4A17-BD9B-68978D3D5C6D}" sibTransId="{9D00E550-C864-46CD-AE9D-B1AF962526B1}"/>
    <dgm:cxn modelId="{8922FE34-5936-40CF-A124-57538CA090E7}" srcId="{C9B12C90-8B57-400E-AFDB-85B1CC8B63C9}" destId="{6F30B221-5C40-4FBA-9427-2F0B5413EADD}" srcOrd="3" destOrd="0" parTransId="{6A9AA358-48AC-4FC2-9543-0955AE191018}" sibTransId="{5268864B-A751-4738-994C-C7296370875B}"/>
    <dgm:cxn modelId="{9CEB0DC1-AAD6-43E2-A004-CA824731E90B}" type="presOf" srcId="{DF67D3F8-523E-4C91-BB8A-E88FF3BFFE71}" destId="{E2944459-30FB-4A39-B98C-CA50DEBD0FE0}" srcOrd="0" destOrd="4" presId="urn:microsoft.com/office/officeart/2005/8/layout/hList6"/>
    <dgm:cxn modelId="{B5C73BD3-7E4C-40C2-A95E-ADF73D8B2256}" srcId="{B0E30588-1614-4F1A-B863-E835765ED56C}" destId="{4BC937DE-DF2D-4FFA-B88A-E5338D433781}" srcOrd="0" destOrd="0" parTransId="{1835388E-52BA-4E72-8792-3A12EDB4C03B}" sibTransId="{F59B1304-AA1E-4810-9E72-0861E45F8AE6}"/>
    <dgm:cxn modelId="{AA84AAB7-CA17-40C5-A465-15DA0C289E43}" srcId="{C9B12C90-8B57-400E-AFDB-85B1CC8B63C9}" destId="{A446800D-2712-4870-A860-B80692232F7F}" srcOrd="1" destOrd="0" parTransId="{D5CB3F02-2D52-4C7C-B42D-1F2F79D73300}" sibTransId="{21E781E9-0AC7-4C2B-9DB1-F96922E5188D}"/>
    <dgm:cxn modelId="{D24A41B7-A2FD-48C2-906B-CC4D0DCF4C58}" type="presParOf" srcId="{3E78A654-C050-4A6D-AE20-E7E88B2A53F2}" destId="{E2944459-30FB-4A39-B98C-CA50DEBD0FE0}" srcOrd="0" destOrd="0" presId="urn:microsoft.com/office/officeart/2005/8/layout/hList6"/>
    <dgm:cxn modelId="{30D4D752-347B-41D3-9752-94EE32502BBF}" type="presParOf" srcId="{3E78A654-C050-4A6D-AE20-E7E88B2A53F2}" destId="{50494F57-9413-46C6-806C-1F0BC7375A67}" srcOrd="1" destOrd="0" presId="urn:microsoft.com/office/officeart/2005/8/layout/hList6"/>
    <dgm:cxn modelId="{B61E06C6-383C-4FEB-90A2-EC2FEEEB7713}" type="presParOf" srcId="{3E78A654-C050-4A6D-AE20-E7E88B2A53F2}" destId="{07112225-DBE3-4767-B863-B33AE5135511}" srcOrd="2" destOrd="0" presId="urn:microsoft.com/office/officeart/2005/8/layout/hList6"/>
    <dgm:cxn modelId="{235BB6CB-97D0-4255-904B-A09A6DD493B8}" type="presParOf" srcId="{3E78A654-C050-4A6D-AE20-E7E88B2A53F2}" destId="{6BA26F60-B496-4610-8B97-2B9BA126275A}" srcOrd="3" destOrd="0" presId="urn:microsoft.com/office/officeart/2005/8/layout/hList6"/>
    <dgm:cxn modelId="{F18E1AB6-76E6-4F80-A137-C508D9D9E6DA}" type="presParOf" srcId="{3E78A654-C050-4A6D-AE20-E7E88B2A53F2}" destId="{B790B033-8861-44F9-A411-A64891A1F78D}" srcOrd="4" destOrd="0" presId="urn:microsoft.com/office/officeart/2005/8/layout/hList6"/>
    <dgm:cxn modelId="{21B92FC8-449D-4507-A75B-D5F0218404BF}" type="presParOf" srcId="{3E78A654-C050-4A6D-AE20-E7E88B2A53F2}" destId="{101442F7-FACE-4788-8554-F4C5B5488297}" srcOrd="5" destOrd="0" presId="urn:microsoft.com/office/officeart/2005/8/layout/hList6"/>
    <dgm:cxn modelId="{BA8D67A1-8362-41FF-8ACC-2D8B16BE07DA}" type="presParOf" srcId="{3E78A654-C050-4A6D-AE20-E7E88B2A53F2}" destId="{5F91C283-CBEC-401B-9811-6B9815385BF4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944459-30FB-4A39-B98C-CA50DEBD0FE0}">
      <dsp:nvSpPr>
        <dsp:cNvPr id="0" name=""/>
        <dsp:cNvSpPr/>
      </dsp:nvSpPr>
      <dsp:spPr>
        <a:xfrm rot="16200000">
          <a:off x="-819168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0" i="0" u="none" kern="1200" dirty="0" err="1" smtClean="0"/>
            <a:t>Resources</a:t>
          </a:r>
          <a:endParaRPr lang="fr-FR" sz="1700" i="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4 Team </a:t>
          </a:r>
          <a:r>
            <a:rPr lang="fr-FR" sz="1300" b="0" i="0" u="none" strike="sngStrike" kern="1200" dirty="0" err="1" smtClean="0"/>
            <a:t>members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err="1" smtClean="0"/>
            <a:t>Lab</a:t>
          </a:r>
          <a:r>
            <a:rPr lang="fr-FR" sz="1300" b="0" i="0" u="none" strike="sngStrike" kern="1200" dirty="0" smtClean="0"/>
            <a:t> &amp; </a:t>
          </a:r>
          <a:r>
            <a:rPr lang="fr-FR" sz="1300" b="0" i="0" u="none" strike="sngStrike" kern="1200" dirty="0" err="1" smtClean="0"/>
            <a:t>Supervisor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Documentation about IAR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Documentation about fuel </a:t>
          </a:r>
          <a:r>
            <a:rPr lang="fr-FR" sz="1300" b="0" i="0" u="none" kern="1200" dirty="0" err="1" smtClean="0"/>
            <a:t>cells</a:t>
          </a:r>
          <a:endParaRPr lang="fr-FR" sz="1300" b="0" i="0" u="non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dirty="0" smtClean="0"/>
            <a:t>Office supplies</a:t>
          </a:r>
          <a:endParaRPr lang="fr-FR" sz="1300" b="0" i="0" u="none" strike="sngStrike" kern="1200" dirty="0"/>
        </a:p>
      </dsp:txBody>
      <dsp:txXfrm rot="5400000">
        <a:off x="2425" y="804545"/>
        <a:ext cx="2379538" cy="2413635"/>
      </dsp:txXfrm>
    </dsp:sp>
    <dsp:sp modelId="{07112225-DBE3-4767-B863-B33AE5135511}">
      <dsp:nvSpPr>
        <dsp:cNvPr id="0" name=""/>
        <dsp:cNvSpPr/>
      </dsp:nvSpPr>
      <dsp:spPr>
        <a:xfrm rot="16200000">
          <a:off x="1738835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0" i="0" u="none" kern="1200" dirty="0" err="1" smtClean="0"/>
            <a:t>Activitie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strike="sngStrike" kern="1200" smtClean="0"/>
            <a:t>Read IAR, extract structure</a:t>
          </a:r>
          <a:endParaRPr lang="fr-FR" sz="1300" b="0" i="0" u="none" strike="sngStrike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strike="sngStrike" kern="1200" smtClean="0"/>
            <a:t>Build a structure for our IAR</a:t>
          </a:r>
          <a:endParaRPr lang="en-US" sz="1300" b="0" i="0" u="none" strike="sngStrik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i="0" u="none" kern="1200" dirty="0" smtClean="0"/>
            <a:t>Read about fuel cell and surrounding industry</a:t>
          </a:r>
          <a:endParaRPr lang="en-US" sz="1600" b="1" i="0" u="non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b="1" i="0" u="none" kern="1200" dirty="0" err="1" smtClean="0"/>
            <a:t>Collect</a:t>
          </a:r>
          <a:r>
            <a:rPr lang="fr-FR" sz="1600" b="1" i="0" u="none" kern="1200" dirty="0" smtClean="0"/>
            <a:t> data</a:t>
          </a:r>
          <a:endParaRPr lang="fr-FR" sz="1600" b="1" i="0" u="none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b="1" i="0" u="none" kern="1200" dirty="0" err="1" smtClean="0"/>
            <a:t>Interact</a:t>
          </a:r>
          <a:r>
            <a:rPr lang="fr-FR" sz="1600" b="1" i="0" u="none" kern="1200" dirty="0" smtClean="0"/>
            <a:t> </a:t>
          </a:r>
          <a:r>
            <a:rPr lang="fr-FR" sz="1600" b="1" i="0" u="none" kern="1200" dirty="0" err="1" smtClean="0"/>
            <a:t>with</a:t>
          </a:r>
          <a:r>
            <a:rPr lang="fr-FR" sz="1600" b="1" i="0" u="none" kern="1200" dirty="0" smtClean="0"/>
            <a:t> the </a:t>
          </a:r>
          <a:r>
            <a:rPr lang="fr-FR" sz="1600" b="1" i="0" u="none" kern="1200" dirty="0" err="1" smtClean="0"/>
            <a:t>chemistry</a:t>
          </a:r>
          <a:r>
            <a:rPr lang="fr-FR" sz="1600" b="1" i="0" u="none" kern="1200" dirty="0" smtClean="0"/>
            <a:t> </a:t>
          </a:r>
          <a:r>
            <a:rPr lang="fr-FR" sz="1600" b="1" i="0" u="none" kern="1200" dirty="0" err="1" smtClean="0"/>
            <a:t>lab</a:t>
          </a:r>
          <a:endParaRPr lang="fr-FR" sz="1600" b="1" i="0" u="none" kern="1200" dirty="0"/>
        </a:p>
      </dsp:txBody>
      <dsp:txXfrm rot="5400000">
        <a:off x="2560428" y="804545"/>
        <a:ext cx="2379538" cy="2413635"/>
      </dsp:txXfrm>
    </dsp:sp>
    <dsp:sp modelId="{B790B033-8861-44F9-A411-A64891A1F78D}">
      <dsp:nvSpPr>
        <dsp:cNvPr id="0" name=""/>
        <dsp:cNvSpPr/>
      </dsp:nvSpPr>
      <dsp:spPr>
        <a:xfrm rot="16200000">
          <a:off x="4296839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err="1" smtClean="0"/>
            <a:t>Outcome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IAR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b="0" i="0" u="none" kern="1200" dirty="0" smtClean="0"/>
            <a:t>Collaboration </a:t>
          </a:r>
          <a:r>
            <a:rPr lang="fr-FR" sz="1300" b="0" i="0" u="none" kern="1200" dirty="0" err="1" smtClean="0"/>
            <a:t>with</a:t>
          </a:r>
          <a:r>
            <a:rPr lang="fr-FR" sz="1300" b="0" i="0" u="none" kern="1200" dirty="0" smtClean="0"/>
            <a:t> </a:t>
          </a:r>
          <a:r>
            <a:rPr lang="fr-FR" sz="1300" b="0" i="0" u="none" kern="1200" dirty="0" err="1" smtClean="0"/>
            <a:t>chemistry</a:t>
          </a:r>
          <a:r>
            <a:rPr lang="fr-FR" sz="1300" b="0" i="0" u="none" kern="1200" dirty="0" smtClean="0"/>
            <a:t> </a:t>
          </a:r>
          <a:r>
            <a:rPr lang="fr-FR" sz="1300" b="0" i="0" u="none" kern="1200" dirty="0" err="1" smtClean="0"/>
            <a:t>lab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300" b="0" i="0" u="none" kern="1200" dirty="0"/>
        </a:p>
      </dsp:txBody>
      <dsp:txXfrm rot="5400000">
        <a:off x="5118432" y="804545"/>
        <a:ext cx="2379538" cy="2413635"/>
      </dsp:txXfrm>
    </dsp:sp>
    <dsp:sp modelId="{5F91C283-CBEC-401B-9811-6B9815385BF4}">
      <dsp:nvSpPr>
        <dsp:cNvPr id="0" name=""/>
        <dsp:cNvSpPr/>
      </dsp:nvSpPr>
      <dsp:spPr>
        <a:xfrm rot="16200000">
          <a:off x="6854843" y="821593"/>
          <a:ext cx="4022725" cy="2379538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00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Output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dirty="0" smtClean="0"/>
            <a:t>Have knowledge about global fuel cell industry (e.g. technology, application, manufacturers, risks, opportunities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smtClean="0"/>
            <a:t>Being able to identify needs of the market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smtClean="0"/>
            <a:t>Ability to write an IAR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u="none" kern="1200" dirty="0" smtClean="0"/>
            <a:t>IAR available for other people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300" kern="1200"/>
        </a:p>
      </dsp:txBody>
      <dsp:txXfrm rot="5400000">
        <a:off x="7676436" y="804545"/>
        <a:ext cx="2379538" cy="24136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CA47B-3C97-470F-9E92-6634E455912F}" type="datetimeFigureOut">
              <a:rPr lang="en-US" smtClean="0"/>
              <a:t>4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4E867-41F4-48E7-8B36-52D0CC1AAF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79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 algn="ctr">
              <a:buNone/>
              <a:defRPr sz="2400"/>
            </a:lvl2pPr>
            <a:lvl3pPr marL="914354" indent="0" algn="ctr">
              <a:buNone/>
              <a:defRPr sz="2400"/>
            </a:lvl3pPr>
            <a:lvl4pPr marL="1371532" indent="0" algn="ctr">
              <a:buNone/>
              <a:defRPr sz="2000"/>
            </a:lvl4pPr>
            <a:lvl5pPr marL="1828709" indent="0" algn="ctr">
              <a:buNone/>
              <a:defRPr sz="2000"/>
            </a:lvl5pPr>
            <a:lvl6pPr marL="2285886" indent="0" algn="ctr">
              <a:buNone/>
              <a:defRPr sz="2000"/>
            </a:lvl6pPr>
            <a:lvl7pPr marL="2743062" indent="0" algn="ctr">
              <a:buNone/>
              <a:defRPr sz="2000"/>
            </a:lvl7pPr>
            <a:lvl8pPr marL="3200240" indent="0" algn="ctr">
              <a:buNone/>
              <a:defRPr sz="2000"/>
            </a:lvl8pPr>
            <a:lvl9pPr marL="3657418" indent="0" algn="ctr">
              <a:buNone/>
              <a:defRPr sz="20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450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7450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382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8053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272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210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9643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8254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82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22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8969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3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8" y="6459795"/>
            <a:ext cx="2618511" cy="365125"/>
          </a:xfrm>
        </p:spPr>
        <p:txBody>
          <a:bodyPr/>
          <a:lstStyle>
            <a:lvl1pPr algn="l">
              <a:defRPr/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9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5803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0693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2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7" y="645979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02F0B32B-ED32-4907-B4C8-E651EEA6C8DE}" type="datetimeFigureOut">
              <a:rPr lang="fr-FR" smtClean="0"/>
              <a:t>14/04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7" y="645979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65" y="645979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1">
                <a:solidFill>
                  <a:srgbClr val="FFFFFF"/>
                </a:solidFill>
              </a:defRPr>
            </a:lvl1pPr>
          </a:lstStyle>
          <a:p>
            <a:fld id="{D376626B-8044-4126-A03C-8C0AE257EC41}" type="slidenum">
              <a:rPr lang="fr-FR" smtClean="0"/>
              <a:t>‹#›</a:t>
            </a:fld>
            <a:endParaRPr lang="fr-FR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>
            <a:spLocks noChangeAspect="1"/>
          </p:cNvSpPr>
          <p:nvPr userDrawn="1"/>
        </p:nvSpPr>
        <p:spPr>
          <a:xfrm>
            <a:off x="10400819" y="711917"/>
            <a:ext cx="757268" cy="1025695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83073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354" rtl="0" eaLnBrk="1" latinLnBrk="0" hangingPunct="1">
        <a:lnSpc>
          <a:spcPct val="85000"/>
        </a:lnSpc>
        <a:spcBef>
          <a:spcPct val="0"/>
        </a:spcBef>
        <a:buNone/>
        <a:defRPr sz="4800" kern="1200" spc="-5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36" indent="-91436" algn="l" defTabSz="914354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29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00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771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42" indent="-182870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09994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93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925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916" indent="-228589" algn="l" defTabSz="91435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smtClean="0"/>
              <a:t>FUEL CELLS	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Rectangle 7"/>
          <p:cNvSpPr>
            <a:spLocks noChangeAspect="1"/>
          </p:cNvSpPr>
          <p:nvPr/>
        </p:nvSpPr>
        <p:spPr>
          <a:xfrm>
            <a:off x="1407474" y="-288109"/>
            <a:ext cx="9601301" cy="4778518"/>
          </a:xfrm>
          <a:prstGeom prst="rect">
            <a:avLst/>
          </a:prstGeom>
          <a:blipFill dpi="0" rotWithShape="1">
            <a:blip r:embed="rId2">
              <a:alphaModFix amt="5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759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ASIA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880" y="1833563"/>
            <a:ext cx="8312641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Espace réservé du contenu 22"/>
          <p:cNvSpPr txBox="1">
            <a:spLocks/>
          </p:cNvSpPr>
          <p:nvPr/>
        </p:nvSpPr>
        <p:spPr>
          <a:xfrm>
            <a:off x="6764657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sia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Asia is currently the leading market for fuel cells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Japan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units.</a:t>
            </a:r>
            <a:endParaRPr lang="en-US" sz="2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South Korea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iggest Market in terms of Megawatts.</a:t>
            </a:r>
          </a:p>
        </p:txBody>
      </p:sp>
    </p:spTree>
    <p:extLst>
      <p:ext uri="{BB962C8B-B14F-4D97-AF65-F5344CB8AC3E}">
        <p14:creationId xmlns:p14="http://schemas.microsoft.com/office/powerpoint/2010/main" val="134201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- EUROPE</a:t>
            </a:r>
            <a:endParaRPr lang="en-US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918" y="1865313"/>
            <a:ext cx="8388762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Espace réservé du contenu 22"/>
          <p:cNvSpPr txBox="1">
            <a:spLocks/>
          </p:cNvSpPr>
          <p:nvPr/>
        </p:nvSpPr>
        <p:spPr>
          <a:xfrm>
            <a:off x="1097280" y="1834516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urope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Large and diverse fuel cell industry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Research Institutes are </a:t>
            </a: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researching fuel cells</a:t>
            </a:r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Big markets for fuel cell buses and cars</a:t>
            </a:r>
          </a:p>
          <a:p>
            <a:pPr>
              <a:buClr>
                <a:srgbClr val="297D53"/>
              </a:buClr>
            </a:pP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</a:rPr>
              <a:t>- Germany is currently the biggest market for stationary fuel cells</a:t>
            </a:r>
          </a:p>
          <a:p>
            <a:pPr>
              <a:buClr>
                <a:srgbClr val="297D53"/>
              </a:buClr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30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</a:t>
            </a:r>
            <a:r>
              <a:rPr lang="en-US" dirty="0" smtClean="0"/>
              <a:t>– N.A.</a:t>
            </a:r>
            <a:endParaRPr lang="en-US" dirty="0"/>
          </a:p>
        </p:txBody>
      </p:sp>
      <p:pic>
        <p:nvPicPr>
          <p:cNvPr id="6" name="Content Placeholder 5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33563"/>
            <a:ext cx="8619017" cy="40227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Espace réservé du contenu 22"/>
          <p:cNvSpPr txBox="1">
            <a:spLocks/>
          </p:cNvSpPr>
          <p:nvPr/>
        </p:nvSpPr>
        <p:spPr>
          <a:xfrm>
            <a:off x="6983732" y="1929127"/>
            <a:ext cx="3986537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297D53"/>
              </a:buClr>
            </a:pPr>
            <a:r>
              <a:rPr lang="en-US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North America :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bus delivery demo program taking place in British Columbia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l cell electric vehicles are running on the streets of southern California, the government also installed a few FC stations.</a:t>
            </a:r>
          </a:p>
          <a:p>
            <a:pPr>
              <a:buClr>
                <a:srgbClr val="297D53"/>
              </a:buClr>
            </a:pPr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C used as backup power source for the telecom segment.</a:t>
            </a:r>
          </a:p>
        </p:txBody>
      </p:sp>
    </p:spTree>
    <p:extLst>
      <p:ext uri="{BB962C8B-B14F-4D97-AF65-F5344CB8AC3E}">
        <p14:creationId xmlns:p14="http://schemas.microsoft.com/office/powerpoint/2010/main" val="195535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RKET </a:t>
            </a:r>
            <a:r>
              <a:rPr lang="de-DE" dirty="0" smtClean="0"/>
              <a:t>PERSPECTIVES - ROW</a:t>
            </a:r>
            <a:endParaRPr lang="de-DE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2151173" y="1980616"/>
            <a:ext cx="10016775" cy="4146866"/>
            <a:chOff x="2201864" y="1196976"/>
            <a:chExt cx="10775760" cy="4461079"/>
          </a:xfrm>
        </p:grpSpPr>
        <p:sp>
          <p:nvSpPr>
            <p:cNvPr id="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0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4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5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7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52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3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42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3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4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5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6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7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8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9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0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1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6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</p:grpSpPr>
          <p:sp>
            <p:nvSpPr>
              <p:cNvPr id="539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0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1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1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3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78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9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92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3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9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4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99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6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7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8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9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0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1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2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3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4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5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6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8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0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1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5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9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0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1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2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3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4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5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6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7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8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297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9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0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1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2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3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4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5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6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7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8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9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0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1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2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3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4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5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6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7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8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9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0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1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2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3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4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5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6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7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8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9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0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1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2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3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4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5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6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7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8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9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0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1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2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3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4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5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6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7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8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9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0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1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2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3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4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5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6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7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8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9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0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1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2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13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62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3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4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5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6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7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8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9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0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1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3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4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5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6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7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8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9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0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1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2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3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4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5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4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5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6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7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8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9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0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1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2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3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4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5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6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7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8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9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0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1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2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3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4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5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6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7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8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9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0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1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2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3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4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5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6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7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8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9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0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1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2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3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4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5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6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7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8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9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0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1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2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3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4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5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6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7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8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69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9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0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1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0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1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72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8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9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0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1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2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3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4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5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6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7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8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3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4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5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297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6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77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42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3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4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5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6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7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8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</p:grpSpPr>
          <p:sp>
            <p:nvSpPr>
              <p:cNvPr id="400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1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2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4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5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6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7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8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9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0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1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3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4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5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6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7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8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9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0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1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2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3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4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5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6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7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8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9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0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1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2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3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4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5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6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7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8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9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0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1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79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0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1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2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83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84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5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7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9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1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2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3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7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0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1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434013" y="2047083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2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3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4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5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6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7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8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9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0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2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3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6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7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8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9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0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1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2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3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4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5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6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7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8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9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0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1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2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3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4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5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6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7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8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9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2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7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1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1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2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3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5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66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67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8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9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0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1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2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3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4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75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90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1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2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3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76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7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8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79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0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1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2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3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4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5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6" name="TextBox 385"/>
            <p:cNvSpPr txBox="1"/>
            <p:nvPr/>
          </p:nvSpPr>
          <p:spPr>
            <a:xfrm>
              <a:off x="3839370" y="2447362"/>
              <a:ext cx="4260850" cy="4304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Caribbean region- off grid power FC</a:t>
              </a:r>
            </a:p>
          </p:txBody>
        </p:sp>
        <p:sp>
          <p:nvSpPr>
            <p:cNvPr id="387" name="TextBox 386"/>
            <p:cNvSpPr txBox="1"/>
            <p:nvPr/>
          </p:nvSpPr>
          <p:spPr>
            <a:xfrm>
              <a:off x="5401451" y="4896532"/>
              <a:ext cx="4301350" cy="7615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South African region- telecom backup &amp; portable FC </a:t>
              </a:r>
            </a:p>
          </p:txBody>
        </p:sp>
        <p:sp>
          <p:nvSpPr>
            <p:cNvPr id="388" name="Rectangle 387"/>
            <p:cNvSpPr/>
            <p:nvPr/>
          </p:nvSpPr>
          <p:spPr>
            <a:xfrm>
              <a:off x="4086443" y="3244334"/>
              <a:ext cx="2794530" cy="4304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dirty="0" smtClean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Brazil </a:t>
              </a:r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– FC Public Buses</a:t>
              </a:r>
              <a:endParaRPr lang="en-US" sz="2000" dirty="0">
                <a:solidFill>
                  <a:srgbClr val="000000">
                    <a:lumMod val="75000"/>
                    <a:lumOff val="25000"/>
                  </a:srgbClr>
                </a:solidFill>
              </a:endParaRPr>
            </a:p>
          </p:txBody>
        </p:sp>
        <p:sp>
          <p:nvSpPr>
            <p:cNvPr id="389" name="Rectangle 388"/>
            <p:cNvSpPr/>
            <p:nvPr/>
          </p:nvSpPr>
          <p:spPr>
            <a:xfrm>
              <a:off x="7234535" y="3749213"/>
              <a:ext cx="5743089" cy="7284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Australia –  minor market </a:t>
              </a:r>
              <a:r>
                <a:rPr lang="en-US" sz="2000" dirty="0" smtClean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with various FC imports</a:t>
              </a:r>
              <a:endParaRPr lang="en-US" sz="2000" dirty="0">
                <a:solidFill>
                  <a:srgbClr val="000000">
                    <a:lumMod val="75000"/>
                    <a:lumOff val="25000"/>
                  </a:srgbClr>
                </a:solidFill>
              </a:endParaRPr>
            </a:p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585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PERSPECTIVES- </a:t>
            </a:r>
            <a:r>
              <a:rPr lang="en-US" dirty="0" smtClean="0"/>
              <a:t>CONCLUSION</a:t>
            </a:r>
            <a:endParaRPr lang="en-US" dirty="0"/>
          </a:p>
        </p:txBody>
      </p:sp>
      <p:pic>
        <p:nvPicPr>
          <p:cNvPr id="4" name="Content Placeholder 8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397" y="1846263"/>
            <a:ext cx="6775532" cy="402272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816100" y="2439988"/>
          <a:ext cx="8839201" cy="313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2743"/>
                <a:gridCol w="1262743"/>
                <a:gridCol w="1262743"/>
                <a:gridCol w="1262743"/>
                <a:gridCol w="1262743"/>
                <a:gridCol w="1262743"/>
                <a:gridCol w="1262743"/>
              </a:tblGrid>
              <a:tr h="370840">
                <a:tc gridSpan="7"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Megawatts by Region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Megawatts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0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1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2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01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Europe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.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.8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9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7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7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0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North America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37.6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2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9.6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1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74.7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2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Asia 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5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2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39.6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6.1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22.9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12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Rest of World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7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8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.8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0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.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Total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6.5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91.2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09.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66.7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15.3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76.0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065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AW AND GOVERNMENTAL INFLUENC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853340"/>
              </p:ext>
            </p:extLst>
          </p:nvPr>
        </p:nvGraphicFramePr>
        <p:xfrm>
          <a:off x="1096964" y="1846263"/>
          <a:ext cx="10058715" cy="2534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smtClean="0"/>
                        <a:t>are the </a:t>
                      </a:r>
                      <a:r>
                        <a:rPr lang="fr-FR" sz="1500" baseline="0" dirty="0" err="1" smtClean="0"/>
                        <a:t>governmental</a:t>
                      </a:r>
                      <a:r>
                        <a:rPr lang="fr-FR" sz="1500" baseline="0" dirty="0" smtClean="0"/>
                        <a:t> influenc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active support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In </a:t>
                      </a:r>
                      <a:r>
                        <a:rPr lang="fr-FR" sz="1500" dirty="0" err="1" smtClean="0"/>
                        <a:t>which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degree</a:t>
                      </a:r>
                      <a:r>
                        <a:rPr lang="fr-FR" sz="1500" baseline="0" dirty="0" smtClean="0"/>
                        <a:t> the influence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between</a:t>
                      </a:r>
                      <a:r>
                        <a:rPr lang="fr-FR" sz="1500" baseline="0" dirty="0" smtClean="0"/>
                        <a:t> the countr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Law; subsidies</a:t>
                      </a:r>
                      <a:r>
                        <a:rPr lang="fr-FR" sz="1500" baseline="0" dirty="0" smtClean="0"/>
                        <a:t>; active support;</a:t>
                      </a:r>
                      <a:endParaRPr lang="fr-FR" sz="1500" dirty="0" smtClean="0"/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Laws</a:t>
                      </a:r>
                      <a:r>
                        <a:rPr lang="fr-FR" sz="1500" dirty="0" smtClean="0"/>
                        <a:t>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ewspapers</a:t>
                      </a:r>
                      <a:r>
                        <a:rPr lang="fr-FR" sz="1500" baseline="0" dirty="0" smtClean="0"/>
                        <a:t>; web </a:t>
                      </a:r>
                      <a:r>
                        <a:rPr lang="fr-FR" sz="1500" baseline="0" dirty="0" err="1" smtClean="0"/>
                        <a:t>resourc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9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05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W AND GOVERNMENTAL INFLU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61849"/>
            <a:ext cx="4897120" cy="1897458"/>
          </a:xfrm>
          <a:ln>
            <a:solidFill>
              <a:schemeClr val="bg1">
                <a:lumMod val="65000"/>
              </a:schemeClr>
            </a:solidFill>
          </a:ln>
        </p:spPr>
        <p:txBody>
          <a:bodyPr>
            <a:normAutofit/>
          </a:bodyPr>
          <a:lstStyle/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Compare institutional environment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Starting point for research: USA, Japan, Germany (EU)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dirty="0" smtClean="0"/>
              <a:t>Including subsidies and other governmental support or discouragement</a:t>
            </a:r>
            <a:endParaRPr lang="en-US" dirty="0"/>
          </a:p>
        </p:txBody>
      </p:sp>
      <p:pic>
        <p:nvPicPr>
          <p:cNvPr id="1026" name="Picture 2" descr="http://ars.els-cdn.com/content/image/1-s2.0-S0360544208002144-gr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9" t="-3563" r="-3651" b="-1845"/>
          <a:stretch/>
        </p:blipFill>
        <p:spPr bwMode="auto">
          <a:xfrm>
            <a:off x="6212115" y="1961848"/>
            <a:ext cx="5066937" cy="307702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945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COMPARISON WITH OTHER TECHNOLOGIES</a:t>
            </a:r>
            <a:endParaRPr lang="en-US" altLang="zh-CN" noProof="0" dirty="0"/>
          </a:p>
        </p:txBody>
      </p:sp>
      <p:graphicFrame>
        <p:nvGraphicFramePr>
          <p:cNvPr id="6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17606049"/>
              </p:ext>
            </p:extLst>
          </p:nvPr>
        </p:nvGraphicFramePr>
        <p:xfrm>
          <a:off x="1096964" y="1846263"/>
          <a:ext cx="10058715" cy="37693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the alternative technologies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Products</a:t>
                      </a:r>
                      <a:r>
                        <a:rPr lang="fr-FR" sz="1500" dirty="0" smtClean="0"/>
                        <a:t>; Concep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????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trend for </a:t>
                      </a:r>
                      <a:r>
                        <a:rPr lang="fr-FR" sz="1500" baseline="0" dirty="0" err="1" smtClean="0"/>
                        <a:t>each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 in the last </a:t>
                      </a:r>
                      <a:r>
                        <a:rPr lang="fr-FR" sz="1500" baseline="0" dirty="0" err="1" smtClean="0"/>
                        <a:t>year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Sales</a:t>
                      </a:r>
                      <a:r>
                        <a:rPr lang="fr-FR" sz="1500" baseline="0" dirty="0" smtClean="0"/>
                        <a:t> 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red</a:t>
                      </a:r>
                      <a:r>
                        <a:rPr lang="fr-FR" sz="1500" baseline="0" dirty="0" smtClean="0"/>
                        <a:t> t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, </a:t>
                      </a:r>
                      <a:r>
                        <a:rPr lang="fr-FR" sz="1500" baseline="0" dirty="0" err="1" smtClean="0"/>
                        <a:t>what</a:t>
                      </a:r>
                      <a:r>
                        <a:rPr lang="fr-FR" sz="1500" baseline="0" dirty="0" smtClean="0"/>
                        <a:t> are </a:t>
                      </a:r>
                      <a:r>
                        <a:rPr lang="fr-FR" sz="1500" baseline="0" dirty="0" err="1" smtClean="0"/>
                        <a:t>advantages</a:t>
                      </a:r>
                      <a:r>
                        <a:rPr lang="fr-FR" sz="1500" baseline="0" dirty="0" smtClean="0"/>
                        <a:t>/</a:t>
                      </a:r>
                      <a:r>
                        <a:rPr lang="fr-FR" sz="1500" baseline="0" dirty="0" err="1" smtClean="0"/>
                        <a:t>disadvantages</a:t>
                      </a:r>
                      <a:r>
                        <a:rPr lang="fr-FR" sz="1500" baseline="0" dirty="0" smtClean="0"/>
                        <a:t> of </a:t>
                      </a:r>
                      <a:r>
                        <a:rPr lang="fr-FR" sz="1500" baseline="0" dirty="0" err="1" smtClean="0"/>
                        <a:t>those</a:t>
                      </a:r>
                      <a:r>
                        <a:rPr lang="fr-FR" sz="1500" baseline="0" dirty="0" smtClean="0"/>
                        <a:t> technologies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Produc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616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TURE PERSPECTIVE</a:t>
            </a:r>
            <a:endParaRPr lang="de-DE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7168815"/>
              </p:ext>
            </p:extLst>
          </p:nvPr>
        </p:nvGraphicFramePr>
        <p:xfrm>
          <a:off x="1096964" y="1846263"/>
          <a:ext cx="10058715" cy="28549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743"/>
                <a:gridCol w="2011743"/>
                <a:gridCol w="2011743"/>
                <a:gridCol w="2011743"/>
                <a:gridCol w="2011743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innovation </a:t>
                      </a:r>
                      <a:r>
                        <a:rPr lang="fr-FR" sz="1500" baseline="0" dirty="0" err="1" smtClean="0"/>
                        <a:t>field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Compan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names</a:t>
                      </a:r>
                      <a:r>
                        <a:rPr lang="fr-FR" sz="1500" baseline="0" dirty="0" smtClean="0"/>
                        <a:t>; </a:t>
                      </a:r>
                      <a:r>
                        <a:rPr lang="fr-FR" sz="1500" baseline="0" dirty="0" err="1" smtClean="0"/>
                        <a:t>Project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5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</a:t>
                      </a:r>
                      <a:r>
                        <a:rPr lang="fr-FR" sz="1500" dirty="0" err="1" smtClean="0"/>
                        <a:t>is</a:t>
                      </a:r>
                      <a:r>
                        <a:rPr lang="fr-FR" sz="1500" baseline="0" dirty="0" smtClean="0"/>
                        <a:t> the sales </a:t>
                      </a:r>
                      <a:r>
                        <a:rPr lang="fr-FR" sz="1500" baseline="0" dirty="0" err="1" smtClean="0"/>
                        <a:t>forecast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Forecasted</a:t>
                      </a:r>
                      <a:r>
                        <a:rPr lang="fr-FR" sz="1500" baseline="0" dirty="0" smtClean="0"/>
                        <a:t> sales volum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s</a:t>
                      </a:r>
                      <a:r>
                        <a:rPr lang="fr-FR" sz="1500" baseline="0" dirty="0" smtClean="0"/>
                        <a:t> the </a:t>
                      </a:r>
                      <a:r>
                        <a:rPr lang="fr-FR" sz="1500" baseline="0" dirty="0" err="1" smtClean="0"/>
                        <a:t>nex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waited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milestone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pinion</a:t>
                      </a:r>
                      <a:r>
                        <a:rPr lang="fr-FR" sz="1500" baseline="0" dirty="0" smtClean="0"/>
                        <a:t> of experts; date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20.05.2015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738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LOGIC MODEL</a:t>
            </a:r>
            <a:endParaRPr lang="en-US" altLang="zh-CN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/>
          </p:nvPr>
        </p:nvGraphicFramePr>
        <p:xfrm>
          <a:off x="1096963" y="1846270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1626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926416"/>
            <a:ext cx="4947894" cy="807083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noProof="0" dirty="0" smtClean="0"/>
              <a:t>Intention of this report:</a:t>
            </a:r>
          </a:p>
          <a:p>
            <a:pPr marL="559281" lvl="1" indent="-177792">
              <a:buFont typeface="Wingdings" panose="05000000000000000000" pitchFamily="2" charset="2"/>
              <a:buChar char="§"/>
            </a:pPr>
            <a:r>
              <a:rPr lang="en-US" noProof="0" dirty="0" smtClean="0"/>
              <a:t>Provide public information about fuel cells</a:t>
            </a:r>
          </a:p>
        </p:txBody>
      </p:sp>
      <p:sp>
        <p:nvSpPr>
          <p:cNvPr id="4" name="Pentagon 3"/>
          <p:cNvSpPr/>
          <p:nvPr/>
        </p:nvSpPr>
        <p:spPr>
          <a:xfrm>
            <a:off x="1097287" y="5061101"/>
            <a:ext cx="10058399" cy="369332"/>
          </a:xfrm>
          <a:prstGeom prst="homePlat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5" name="TextBox 4"/>
          <p:cNvSpPr txBox="1"/>
          <p:nvPr/>
        </p:nvSpPr>
        <p:spPr>
          <a:xfrm rot="18900000">
            <a:off x="942882" y="3795441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Discovery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th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princip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40670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01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82356" y="5061101"/>
            <a:ext cx="673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839</a:t>
            </a:r>
          </a:p>
        </p:txBody>
      </p:sp>
      <p:sp>
        <p:nvSpPr>
          <p:cNvPr id="19" name="TextBox 18"/>
          <p:cNvSpPr txBox="1"/>
          <p:nvPr/>
        </p:nvSpPr>
        <p:spPr>
          <a:xfrm rot="18900000">
            <a:off x="1890283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„Gas </a:t>
            </a:r>
            <a:r>
              <a:rPr lang="de-DE" dirty="0" err="1">
                <a:solidFill>
                  <a:schemeClr val="tx2"/>
                </a:solidFill>
              </a:rPr>
              <a:t>battery</a:t>
            </a:r>
            <a:r>
              <a:rPr lang="de-DE" dirty="0">
                <a:solidFill>
                  <a:schemeClr val="tx2"/>
                </a:solidFill>
              </a:rPr>
              <a:t>“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65046" y="5061748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60s</a:t>
            </a:r>
          </a:p>
        </p:txBody>
      </p:sp>
      <p:sp>
        <p:nvSpPr>
          <p:cNvPr id="21" name="TextBox 20"/>
          <p:cNvSpPr txBox="1"/>
          <p:nvPr/>
        </p:nvSpPr>
        <p:spPr>
          <a:xfrm rot="18900000">
            <a:off x="3333846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spac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ssion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23933" y="5060456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80s</a:t>
            </a:r>
          </a:p>
        </p:txBody>
      </p:sp>
      <p:sp>
        <p:nvSpPr>
          <p:cNvPr id="23" name="TextBox 22"/>
          <p:cNvSpPr txBox="1"/>
          <p:nvPr/>
        </p:nvSpPr>
        <p:spPr>
          <a:xfrm rot="18900000">
            <a:off x="4611278" y="3795447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First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in </a:t>
            </a:r>
            <a:r>
              <a:rPr lang="de-DE" dirty="0" err="1">
                <a:solidFill>
                  <a:schemeClr val="tx2"/>
                </a:solidFill>
              </a:rPr>
              <a:t>in</a:t>
            </a:r>
            <a:r>
              <a:rPr lang="de-DE" dirty="0">
                <a:solidFill>
                  <a:schemeClr val="tx2"/>
                </a:solidFill>
              </a:rPr>
              <a:t> submarin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45174" y="506194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1990s</a:t>
            </a:r>
          </a:p>
        </p:txBody>
      </p:sp>
      <p:sp>
        <p:nvSpPr>
          <p:cNvPr id="25" name="TextBox 24"/>
          <p:cNvSpPr txBox="1"/>
          <p:nvPr/>
        </p:nvSpPr>
        <p:spPr>
          <a:xfrm rot="18900000">
            <a:off x="5824275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Developemen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large </a:t>
            </a:r>
            <a:r>
              <a:rPr lang="de-DE" dirty="0" err="1">
                <a:solidFill>
                  <a:schemeClr val="tx2"/>
                </a:solidFill>
              </a:rPr>
              <a:t>stationar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 rot="18900000">
            <a:off x="7375491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Commercial </a:t>
            </a:r>
            <a:r>
              <a:rPr lang="de-DE" dirty="0" err="1">
                <a:solidFill>
                  <a:schemeClr val="tx2"/>
                </a:solidFill>
              </a:rPr>
              <a:t>us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as</a:t>
            </a:r>
            <a:r>
              <a:rPr lang="de-DE" dirty="0">
                <a:solidFill>
                  <a:schemeClr val="tx2"/>
                </a:solidFill>
              </a:rPr>
              <a:t> portable </a:t>
            </a:r>
            <a:r>
              <a:rPr lang="de-DE" dirty="0" err="1">
                <a:solidFill>
                  <a:schemeClr val="tx2"/>
                </a:solidFill>
              </a:rPr>
              <a:t>energy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sourc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06141" y="5061101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7</a:t>
            </a:r>
          </a:p>
        </p:txBody>
      </p:sp>
      <p:sp>
        <p:nvSpPr>
          <p:cNvPr id="28" name="TextBox 27"/>
          <p:cNvSpPr txBox="1"/>
          <p:nvPr/>
        </p:nvSpPr>
        <p:spPr>
          <a:xfrm rot="18900000">
            <a:off x="8410599" y="3559006"/>
            <a:ext cx="1998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2"/>
                </a:solidFill>
              </a:rPr>
              <a:t>Honda </a:t>
            </a:r>
            <a:r>
              <a:rPr lang="de-DE" dirty="0" err="1">
                <a:solidFill>
                  <a:schemeClr val="tx2"/>
                </a:solidFill>
              </a:rPr>
              <a:t>is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leasing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irst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vehicl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622090" y="5054324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8</a:t>
            </a:r>
          </a:p>
        </p:txBody>
      </p:sp>
      <p:sp>
        <p:nvSpPr>
          <p:cNvPr id="30" name="TextBox 29"/>
          <p:cNvSpPr txBox="1"/>
          <p:nvPr/>
        </p:nvSpPr>
        <p:spPr>
          <a:xfrm rot="18900000">
            <a:off x="9391230" y="3795448"/>
            <a:ext cx="19986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tx2"/>
                </a:solidFill>
              </a:rPr>
              <a:t>Commerzialisation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of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micro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fuel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err="1">
                <a:solidFill>
                  <a:schemeClr val="tx2"/>
                </a:solidFill>
              </a:rPr>
              <a:t>cells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525942" y="5064532"/>
            <a:ext cx="790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2009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6196651" y="1926415"/>
            <a:ext cx="4947894" cy="80708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vert="horz" lIns="0" tIns="45720" rIns="0" bIns="45720" rtlCol="0">
            <a:normAutofit lnSpcReduction="10000"/>
          </a:bodyPr>
          <a:lstStyle>
            <a:lvl1pPr marL="91436" indent="-91436" algn="l" defTabSz="914354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29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00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771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42" indent="-182870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994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3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25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16" indent="-228589" algn="l" defTabSz="914354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Discuss fuel cell as an alternative</a:t>
            </a:r>
          </a:p>
          <a:p>
            <a:pPr marL="266687" indent="-165092">
              <a:buFont typeface="Wingdings" panose="05000000000000000000" pitchFamily="2" charset="2"/>
              <a:buChar char="§"/>
            </a:pPr>
            <a:r>
              <a:rPr lang="en-US" dirty="0" smtClean="0"/>
              <a:t>Give a short industry overview</a:t>
            </a:r>
          </a:p>
        </p:txBody>
      </p:sp>
    </p:spTree>
    <p:extLst>
      <p:ext uri="{BB962C8B-B14F-4D97-AF65-F5344CB8AC3E}">
        <p14:creationId xmlns:p14="http://schemas.microsoft.com/office/powerpoint/2010/main" val="1338541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DUC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4896413"/>
              </p:ext>
            </p:extLst>
          </p:nvPr>
        </p:nvGraphicFramePr>
        <p:xfrm>
          <a:off x="1097279" y="1846263"/>
          <a:ext cx="10058400" cy="3339634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How</a:t>
                      </a:r>
                      <a:r>
                        <a:rPr lang="fr-FR" sz="1500" baseline="0" dirty="0" smtClean="0"/>
                        <a:t> do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work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baseline="0" dirty="0" smtClean="0"/>
                        <a:t>Concepts; </a:t>
                      </a:r>
                      <a:r>
                        <a:rPr lang="fr-FR" sz="1500" baseline="0" dirty="0" err="1" smtClean="0"/>
                        <a:t>Principl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resources;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Student’s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lab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Review; Interview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0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baseline="0" dirty="0" smtClean="0"/>
                        <a:t> are the </a:t>
                      </a:r>
                      <a:r>
                        <a:rPr lang="fr-FR" sz="1500" baseline="0" dirty="0" err="1" smtClean="0"/>
                        <a:t>different</a:t>
                      </a:r>
                      <a:r>
                        <a:rPr lang="fr-FR" sz="1500" baseline="0" dirty="0" smtClean="0"/>
                        <a:t> types of fuel </a:t>
                      </a:r>
                      <a:r>
                        <a:rPr lang="fr-FR" sz="1500" baseline="0" dirty="0" err="1" smtClean="0"/>
                        <a:t>cell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Number</a:t>
                      </a:r>
                      <a:r>
                        <a:rPr lang="fr-FR" sz="1500" baseline="0" dirty="0" smtClean="0"/>
                        <a:t> of product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</a:p>
                    <a:p>
                      <a:pPr algn="l"/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4.2015</a:t>
                      </a:r>
                      <a:endParaRPr lang="fr-FR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630957"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What</a:t>
                      </a:r>
                      <a:r>
                        <a:rPr lang="fr-FR" sz="1500" dirty="0" smtClean="0"/>
                        <a:t> are </a:t>
                      </a:r>
                      <a:r>
                        <a:rPr lang="fr-FR" sz="1500" dirty="0" err="1" smtClean="0"/>
                        <a:t>their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characteristics</a:t>
                      </a:r>
                      <a:r>
                        <a:rPr lang="fr-FR" sz="1500" baseline="0" dirty="0" smtClean="0"/>
                        <a:t>?</a:t>
                      </a:r>
                      <a:endParaRPr lang="fr-FR" sz="150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err="1" smtClean="0"/>
                        <a:t>Technical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indicator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fr-FR" sz="1500" dirty="0" err="1" smtClean="0"/>
                        <a:t>resources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15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hat are the main applications for fuell </a:t>
                      </a:r>
                      <a:r>
                        <a:rPr lang="fr-FR" sz="1500" dirty="0" err="1" smtClean="0"/>
                        <a:t>cells</a:t>
                      </a:r>
                      <a:r>
                        <a:rPr lang="fr-FR" sz="1500" dirty="0" smtClean="0"/>
                        <a:t>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Type</a:t>
                      </a:r>
                      <a:r>
                        <a:rPr lang="fr-FR" sz="1500" baseline="0" dirty="0" smtClean="0"/>
                        <a:t> of services; 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Web </a:t>
                      </a:r>
                      <a:r>
                        <a:rPr lang="en-US" altLang="zh-CN" sz="1500" dirty="0" smtClean="0"/>
                        <a:t>resources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20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031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 dirty="0" smtClean="0"/>
              <a:t>PRODUCT PERSPECTIVES</a:t>
            </a:r>
            <a:endParaRPr lang="en-US" noProof="0" dirty="0"/>
          </a:p>
        </p:txBody>
      </p:sp>
      <p:grpSp>
        <p:nvGrpSpPr>
          <p:cNvPr id="4" name="组合 22"/>
          <p:cNvGrpSpPr/>
          <p:nvPr/>
        </p:nvGrpSpPr>
        <p:grpSpPr>
          <a:xfrm>
            <a:off x="5475468" y="1927860"/>
            <a:ext cx="3162319" cy="3832860"/>
            <a:chOff x="4739640" y="1927860"/>
            <a:chExt cx="3162319" cy="3832860"/>
          </a:xfrm>
        </p:grpSpPr>
        <p:sp>
          <p:nvSpPr>
            <p:cNvPr id="9" name="矩形 21"/>
            <p:cNvSpPr/>
            <p:nvPr/>
          </p:nvSpPr>
          <p:spPr>
            <a:xfrm>
              <a:off x="4739640" y="1927860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5" name="组合 14"/>
            <p:cNvGrpSpPr/>
            <p:nvPr/>
          </p:nvGrpSpPr>
          <p:grpSpPr>
            <a:xfrm rot="2427084">
              <a:off x="5915381" y="2290537"/>
              <a:ext cx="1224000" cy="864000"/>
              <a:chOff x="1494869" y="2217333"/>
              <a:chExt cx="1076602" cy="72000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1494869" y="2217333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1851471" y="2217333"/>
                <a:ext cx="720000" cy="720000"/>
              </a:xfrm>
              <a:prstGeom prst="ellipse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1813594" y="2266951"/>
                <a:ext cx="439598" cy="61489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6" name="组合 17"/>
            <p:cNvGrpSpPr/>
            <p:nvPr/>
          </p:nvGrpSpPr>
          <p:grpSpPr>
            <a:xfrm rot="20888956">
              <a:off x="5160434" y="3809256"/>
              <a:ext cx="1980000" cy="1476000"/>
              <a:chOff x="1340519" y="3972806"/>
              <a:chExt cx="1774350" cy="1261533"/>
            </a:xfrm>
          </p:grpSpPr>
          <p:sp>
            <p:nvSpPr>
              <p:cNvPr id="10" name="椭圆 15"/>
              <p:cNvSpPr/>
              <p:nvPr/>
            </p:nvSpPr>
            <p:spPr>
              <a:xfrm>
                <a:off x="134051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椭圆 16"/>
              <p:cNvSpPr/>
              <p:nvPr/>
            </p:nvSpPr>
            <p:spPr>
              <a:xfrm>
                <a:off x="1854869" y="3972806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7" name="TextBox 18"/>
            <p:cNvSpPr txBox="1"/>
            <p:nvPr/>
          </p:nvSpPr>
          <p:spPr>
            <a:xfrm>
              <a:off x="4808220" y="2949715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Hydrogen</a:t>
              </a:r>
            </a:p>
          </p:txBody>
        </p:sp>
        <p:sp>
          <p:nvSpPr>
            <p:cNvPr id="8" name="TextBox 19"/>
            <p:cNvSpPr txBox="1"/>
            <p:nvPr/>
          </p:nvSpPr>
          <p:spPr>
            <a:xfrm>
              <a:off x="6278880" y="5288169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Oxygen</a:t>
              </a:r>
            </a:p>
          </p:txBody>
        </p:sp>
      </p:grpSp>
      <p:grpSp>
        <p:nvGrpSpPr>
          <p:cNvPr id="15" name="组合 24"/>
          <p:cNvGrpSpPr/>
          <p:nvPr/>
        </p:nvGrpSpPr>
        <p:grpSpPr>
          <a:xfrm>
            <a:off x="8567204" y="1927862"/>
            <a:ext cx="2987040" cy="3832860"/>
            <a:chOff x="8403738" y="1783265"/>
            <a:chExt cx="2987040" cy="3832860"/>
          </a:xfrm>
        </p:grpSpPr>
        <p:sp>
          <p:nvSpPr>
            <p:cNvPr id="18" name="矩形 23"/>
            <p:cNvSpPr/>
            <p:nvPr/>
          </p:nvSpPr>
          <p:spPr>
            <a:xfrm>
              <a:off x="8403738" y="1783265"/>
              <a:ext cx="2987040" cy="38328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16" name="组合 9"/>
            <p:cNvGrpSpPr/>
            <p:nvPr/>
          </p:nvGrpSpPr>
          <p:grpSpPr>
            <a:xfrm>
              <a:off x="8943260" y="2793677"/>
              <a:ext cx="1908000" cy="1656000"/>
              <a:chOff x="5696200" y="2734733"/>
              <a:chExt cx="1630666" cy="1392767"/>
            </a:xfrm>
          </p:grpSpPr>
          <p:sp>
            <p:nvSpPr>
              <p:cNvPr id="19" name="椭圆 4"/>
              <p:cNvSpPr/>
              <p:nvPr/>
            </p:nvSpPr>
            <p:spPr>
              <a:xfrm>
                <a:off x="5881533" y="2865967"/>
                <a:ext cx="1260000" cy="1261533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20" name="组合 8"/>
              <p:cNvGrpSpPr/>
              <p:nvPr/>
            </p:nvGrpSpPr>
            <p:grpSpPr>
              <a:xfrm>
                <a:off x="5696200" y="2734733"/>
                <a:ext cx="1630666" cy="727533"/>
                <a:chOff x="5690867" y="2742266"/>
                <a:chExt cx="1630666" cy="727533"/>
              </a:xfrm>
            </p:grpSpPr>
            <p:sp>
              <p:nvSpPr>
                <p:cNvPr id="21" name="椭圆 6"/>
                <p:cNvSpPr/>
                <p:nvPr/>
              </p:nvSpPr>
              <p:spPr>
                <a:xfrm>
                  <a:off x="6601533" y="2742266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2" name="椭圆 7"/>
                <p:cNvSpPr/>
                <p:nvPr/>
              </p:nvSpPr>
              <p:spPr>
                <a:xfrm>
                  <a:off x="5690867" y="2749799"/>
                  <a:ext cx="720000" cy="720000"/>
                </a:xfrm>
                <a:prstGeom prst="ellipse">
                  <a:avLst/>
                </a:pr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</p:grpSp>
        <p:sp>
          <p:nvSpPr>
            <p:cNvPr id="17" name="TextBox 20"/>
            <p:cNvSpPr txBox="1"/>
            <p:nvPr/>
          </p:nvSpPr>
          <p:spPr>
            <a:xfrm>
              <a:off x="9085719" y="4489096"/>
              <a:ext cx="16230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/>
                <a:t>Water</a:t>
              </a:r>
            </a:p>
          </p:txBody>
        </p:sp>
      </p:grpSp>
      <p:sp>
        <p:nvSpPr>
          <p:cNvPr id="23" name="Espace réservé du contenu 22"/>
          <p:cNvSpPr>
            <a:spLocks noGrp="1"/>
          </p:cNvSpPr>
          <p:nvPr>
            <p:ph idx="1"/>
          </p:nvPr>
        </p:nvSpPr>
        <p:spPr>
          <a:xfrm>
            <a:off x="1097282" y="1927859"/>
            <a:ext cx="3986537" cy="3941235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r>
              <a:rPr lang="en-US" sz="2400" dirty="0"/>
              <a:t>MAIN PRINCIPLE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Combine Hydrogen and Oxygen to produce electricity</a:t>
            </a:r>
          </a:p>
          <a:p>
            <a:endParaRPr lang="en-US" noProof="0" dirty="0" smtClean="0"/>
          </a:p>
          <a:p>
            <a:r>
              <a:rPr lang="en-US" sz="2400" dirty="0"/>
              <a:t>PROBLEM</a:t>
            </a:r>
          </a:p>
          <a:p>
            <a:pPr marL="268288" indent="-174625">
              <a:buFont typeface="Wingdings" panose="05000000000000000000" pitchFamily="2" charset="2"/>
              <a:buChar char="§"/>
            </a:pPr>
            <a:r>
              <a:rPr lang="en-US" noProof="0" dirty="0" smtClean="0"/>
              <a:t>Where to find Hydrogen?</a:t>
            </a:r>
          </a:p>
        </p:txBody>
      </p:sp>
    </p:spTree>
    <p:extLst>
      <p:ext uri="{BB962C8B-B14F-4D97-AF65-F5344CB8AC3E}">
        <p14:creationId xmlns:p14="http://schemas.microsoft.com/office/powerpoint/2010/main" val="228389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1260459"/>
              </p:ext>
            </p:extLst>
          </p:nvPr>
        </p:nvGraphicFramePr>
        <p:xfrm>
          <a:off x="1096963" y="1846263"/>
          <a:ext cx="10058400" cy="3035808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514600"/>
                <a:gridCol w="2514600"/>
                <a:gridCol w="2514600"/>
                <a:gridCol w="2514600"/>
              </a:tblGrid>
              <a:tr h="749808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YP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EMPERATURE (°C)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Fuel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24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Electrolyte</a:t>
                      </a: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E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9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 smtClean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40-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KOH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DM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-13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ethanol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olymer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PA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20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/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Phosphoric</a:t>
                      </a:r>
                      <a:r>
                        <a:rPr lang="fr-FR" sz="1900" dirty="0" smtClean="0"/>
                        <a:t> Acid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MC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err="1" smtClean="0"/>
                        <a:t>Molten</a:t>
                      </a:r>
                      <a:r>
                        <a:rPr lang="fr-FR" sz="1900" dirty="0" smtClean="0"/>
                        <a:t> Carbonat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FC</a:t>
                      </a:r>
                      <a:endParaRPr lang="fr-FR" sz="1900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600-950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fr-FR" sz="1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CO</a:t>
                      </a:r>
                      <a:r>
                        <a:rPr lang="fr-FR" sz="1900" kern="1200" baseline="-25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dirty="0" smtClean="0"/>
                        <a:t>Solid </a:t>
                      </a:r>
                      <a:r>
                        <a:rPr lang="fr-FR" sz="1900" dirty="0" err="1" smtClean="0"/>
                        <a:t>Oxide</a:t>
                      </a:r>
                      <a:endParaRPr lang="fr-FR" sz="19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pSp>
        <p:nvGrpSpPr>
          <p:cNvPr id="8" name="Groupe 7"/>
          <p:cNvGrpSpPr/>
          <p:nvPr/>
        </p:nvGrpSpPr>
        <p:grpSpPr>
          <a:xfrm>
            <a:off x="1227914" y="4987099"/>
            <a:ext cx="1678577" cy="369332"/>
            <a:chOff x="1097280" y="4870891"/>
            <a:chExt cx="1678577" cy="369330"/>
          </a:xfrm>
        </p:grpSpPr>
        <p:sp>
          <p:nvSpPr>
            <p:cNvPr id="6" name="Rectangle 5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ZoneTexte 6"/>
            <p:cNvSpPr txBox="1"/>
            <p:nvPr/>
          </p:nvSpPr>
          <p:spPr>
            <a:xfrm>
              <a:off x="1313280" y="4870891"/>
              <a:ext cx="1462577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4296601" y="4987108"/>
            <a:ext cx="3403963" cy="369332"/>
            <a:chOff x="1097280" y="4853314"/>
            <a:chExt cx="3403963" cy="369332"/>
          </a:xfrm>
        </p:grpSpPr>
        <p:sp>
          <p:nvSpPr>
            <p:cNvPr id="12" name="Rectangle 11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1313280" y="4853314"/>
              <a:ext cx="318796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 err="1"/>
                <a:t>Non-metals</a:t>
              </a:r>
              <a:r>
                <a:rPr lang="fr-FR" dirty="0"/>
                <a:t>/ 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9090669" y="4987099"/>
            <a:ext cx="2078083" cy="369332"/>
            <a:chOff x="1097280" y="4870891"/>
            <a:chExt cx="2078083" cy="369330"/>
          </a:xfrm>
        </p:grpSpPr>
        <p:sp>
          <p:nvSpPr>
            <p:cNvPr id="15" name="Rectangle 14"/>
            <p:cNvSpPr/>
            <p:nvPr/>
          </p:nvSpPr>
          <p:spPr>
            <a:xfrm>
              <a:off x="1097280" y="4947557"/>
              <a:ext cx="216000" cy="216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1313280" y="4870891"/>
              <a:ext cx="1862083" cy="369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on-noble </a:t>
              </a:r>
              <a:r>
                <a:rPr lang="fr-FR" dirty="0" err="1"/>
                <a:t>metals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543163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53140693"/>
              </p:ext>
            </p:extLst>
          </p:nvPr>
        </p:nvGraphicFramePr>
        <p:xfrm>
          <a:off x="1096963" y="1846264"/>
          <a:ext cx="4938712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Espace réservé du contenu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28716838"/>
              </p:ext>
            </p:extLst>
          </p:nvPr>
        </p:nvGraphicFramePr>
        <p:xfrm>
          <a:off x="6218245" y="1846270"/>
          <a:ext cx="4937125" cy="402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2713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RODUCT PERSPECTIVES</a:t>
            </a:r>
            <a:endParaRPr lang="en-US" noProof="0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78455321"/>
              </p:ext>
            </p:extLst>
          </p:nvPr>
        </p:nvGraphicFramePr>
        <p:xfrm>
          <a:off x="1096963" y="1846263"/>
          <a:ext cx="10058400" cy="44145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352800"/>
                <a:gridCol w="3352800"/>
                <a:gridCol w="3352800"/>
              </a:tblGrid>
              <a:tr h="370840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RANSPORTATION</a:t>
                      </a:r>
                      <a:endParaRPr lang="fr-FR" sz="28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PORTABLE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6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TATIONNARY</a:t>
                      </a:r>
                      <a:endParaRPr lang="fr-FR" sz="16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klift trucks and other goods handling vehicl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itary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pplicatio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hort run-time systems for telecommunication base stations</a:t>
                      </a:r>
                    </a:p>
                  </a:txBody>
                  <a:tcPr>
                    <a:noFill/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o- and three-wheeler vehic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xiliary</a:t>
                      </a:r>
                      <a:r>
                        <a:rPr lang="en-US" sz="16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ower Units (APU)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systems for critical communication base stations</a:t>
                      </a: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ght duty vehicles (LDVs), such as cars and va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 smtClean="0"/>
                        <a:t>Portable </a:t>
                      </a:r>
                      <a:r>
                        <a:rPr lang="fr-FR" sz="1600" dirty="0" err="1" smtClean="0"/>
                        <a:t>products</a:t>
                      </a:r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extended run-tim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57912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ses and truck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-line rack mountable systems for data </a:t>
                      </a:r>
                      <a:r>
                        <a:rPr lang="en-US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endParaRPr lang="en-US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ins and tram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-line systems for residential use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ies and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ller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at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ight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rcraft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fontAlgn="base"/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manned</a:t>
                      </a:r>
                      <a:r>
                        <a:rPr lang="fr-FR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fr-FR" sz="16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hicles</a:t>
                      </a:r>
                      <a:endParaRPr lang="fr-FR" sz="16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9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RKET PERSPECTIVES</a:t>
            </a:r>
            <a:endParaRPr lang="de-DE" dirty="0"/>
          </a:p>
        </p:txBody>
      </p:sp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37269518"/>
              </p:ext>
            </p:extLst>
          </p:nvPr>
        </p:nvGraphicFramePr>
        <p:xfrm>
          <a:off x="1097279" y="1846263"/>
          <a:ext cx="10058400" cy="27635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11680"/>
                <a:gridCol w="2011680"/>
                <a:gridCol w="2011680"/>
                <a:gridCol w="2011680"/>
                <a:gridCol w="2011680"/>
              </a:tblGrid>
              <a:tr h="370840"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Question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Indicators</a:t>
                      </a:r>
                      <a:endParaRPr lang="fr-FR" sz="19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Data collection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anose="020F0502020204030204" pitchFamily="34" charset="0"/>
                        <a:buNone/>
                      </a:pPr>
                      <a:endParaRPr lang="fr-FR" sz="2400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1000"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source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methods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900" b="1" kern="1200" cap="all" spc="200" baseline="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timing</a:t>
                      </a:r>
                      <a:endParaRPr lang="fr-FR" sz="1900" b="1" kern="1200" cap="all" spc="200" baseline="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What was the state of the industry</a:t>
                      </a:r>
                      <a:r>
                        <a:rPr lang="en-US" sz="1500" baseline="0" noProof="0" dirty="0" smtClean="0"/>
                        <a:t> in 2014? (before 2015)</a:t>
                      </a:r>
                      <a:endParaRPr lang="en-US" sz="1500" noProof="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MW sold; Units shipped; Leading</a:t>
                      </a:r>
                      <a:r>
                        <a:rPr lang="fr-FR" sz="1500" baseline="0" dirty="0" smtClean="0"/>
                        <a:t> countries; Market leaders; </a:t>
                      </a:r>
                      <a:r>
                        <a:rPr lang="fr-FR" sz="1500" baseline="0" dirty="0" err="1" smtClean="0"/>
                        <a:t>Incentives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lder Industry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analysis</a:t>
                      </a:r>
                      <a:r>
                        <a:rPr lang="fr-FR" sz="1500" baseline="0" dirty="0" smtClean="0"/>
                        <a:t> reports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 </a:t>
                      </a:r>
                      <a:r>
                        <a:rPr lang="fr-FR" sz="1500" dirty="0" err="1" smtClean="0"/>
                        <a:t>review</a:t>
                      </a:r>
                      <a:r>
                        <a:rPr lang="fr-FR" sz="1500" dirty="0" smtClean="0"/>
                        <a:t>;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30.04.2015</a:t>
                      </a:r>
                      <a:endParaRPr lang="fr-FR" sz="1500" dirty="0"/>
                    </a:p>
                  </a:txBody>
                  <a:tcP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Which factor(s) caused </a:t>
                      </a:r>
                      <a:r>
                        <a:rPr lang="en-US" sz="1500" baseline="0" noProof="0" dirty="0" smtClean="0"/>
                        <a:t>Japan to became the world’s leading market in FC?</a:t>
                      </a:r>
                      <a:endParaRPr lang="en-US" sz="1500" noProof="0" dirty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noProof="0" dirty="0" smtClean="0"/>
                        <a:t>Country Energy</a:t>
                      </a:r>
                      <a:r>
                        <a:rPr lang="en-US" sz="1500" baseline="0" noProof="0" dirty="0" smtClean="0"/>
                        <a:t> Plan ;</a:t>
                      </a:r>
                      <a:r>
                        <a:rPr lang="en-US" sz="1500" noProof="0" dirty="0" smtClean="0"/>
                        <a:t>Related</a:t>
                      </a:r>
                      <a:r>
                        <a:rPr lang="en-US" sz="1500" baseline="0" noProof="0" dirty="0" smtClean="0"/>
                        <a:t> </a:t>
                      </a:r>
                      <a:r>
                        <a:rPr lang="en-US" sz="1500" noProof="0" dirty="0" smtClean="0"/>
                        <a:t>Governmental Policies;   Corporate </a:t>
                      </a:r>
                      <a:r>
                        <a:rPr lang="en-US" sz="1500" noProof="0" dirty="0" err="1" smtClean="0"/>
                        <a:t>Fundings</a:t>
                      </a:r>
                      <a:endParaRPr lang="en-US" sz="1500" noProof="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Online </a:t>
                      </a:r>
                      <a:r>
                        <a:rPr lang="fr-FR" sz="1500" dirty="0" err="1" smtClean="0"/>
                        <a:t>Resources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Document</a:t>
                      </a:r>
                      <a:r>
                        <a:rPr lang="fr-FR" sz="1500" baseline="0" dirty="0" smtClean="0"/>
                        <a:t> </a:t>
                      </a:r>
                      <a:r>
                        <a:rPr lang="fr-FR" sz="1500" baseline="0" dirty="0" err="1" smtClean="0"/>
                        <a:t>review</a:t>
                      </a:r>
                      <a:r>
                        <a:rPr lang="fr-FR" sz="1500" baseline="0" dirty="0" smtClean="0"/>
                        <a:t>;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dirty="0" smtClean="0"/>
                        <a:t>30.04.2015</a:t>
                      </a:r>
                      <a:endParaRPr lang="fr-FR" sz="15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950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Rétrospective">
  <a:themeElements>
    <a:clrScheme name="Personnalisé 9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297D53"/>
      </a:accent1>
      <a:accent2>
        <a:srgbClr val="004219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008000"/>
      </a:hlink>
      <a:folHlink>
        <a:srgbClr val="B26B02"/>
      </a:folHlink>
    </a:clrScheme>
    <a:fontScheme name="Rétrospectiv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étrospectiv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58</TotalTime>
  <Words>945</Words>
  <Application>Microsoft Office PowerPoint</Application>
  <PresentationFormat>Widescreen</PresentationFormat>
  <Paragraphs>285</Paragraphs>
  <Slides>1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宋体</vt:lpstr>
      <vt:lpstr>Calibri</vt:lpstr>
      <vt:lpstr>Calibri Light</vt:lpstr>
      <vt:lpstr>Wingdings</vt:lpstr>
      <vt:lpstr>Rétrospective</vt:lpstr>
      <vt:lpstr>FUEL CELLS </vt:lpstr>
      <vt:lpstr>LOGIC MODEL</vt:lpstr>
      <vt:lpstr>INTRODUCTION</vt:lpstr>
      <vt:lpstr>PRODUCT PERSPECTIVES</vt:lpstr>
      <vt:lpstr>PRODUCT PERSPECTIVES</vt:lpstr>
      <vt:lpstr>PRODUCT PERSPECTIVES</vt:lpstr>
      <vt:lpstr>PRODUCT PERSPECTIVES</vt:lpstr>
      <vt:lpstr>PRODUCT PERSPECTIVES</vt:lpstr>
      <vt:lpstr>MARKET PERSPECTIVES</vt:lpstr>
      <vt:lpstr>MARKET PERSPECTIVES - ASIA</vt:lpstr>
      <vt:lpstr>MARKET PERSPECTIVES - EUROPE</vt:lpstr>
      <vt:lpstr>MARKET PERSPECTIVES – N.A.</vt:lpstr>
      <vt:lpstr>MARKET PERSPECTIVES - ROW</vt:lpstr>
      <vt:lpstr>MARKET PERSPECTIVES- CONCLUSION</vt:lpstr>
      <vt:lpstr>LAW AND GOVERNMENTAL INFLUENCE</vt:lpstr>
      <vt:lpstr>LAW AND GOVERNMENTAL INFLUENCE</vt:lpstr>
      <vt:lpstr>COMPARISON WITH OTHER TECHNOLOGIES</vt:lpstr>
      <vt:lpstr>FUTURE PERSPECTIVE</vt:lpstr>
    </vt:vector>
  </TitlesOfParts>
  <Company>Supele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enoit Serot</dc:creator>
  <cp:lastModifiedBy>Pongzthor Tiranun</cp:lastModifiedBy>
  <cp:revision>52</cp:revision>
  <dcterms:created xsi:type="dcterms:W3CDTF">2015-04-09T11:09:48Z</dcterms:created>
  <dcterms:modified xsi:type="dcterms:W3CDTF">2015-04-14T14:11:33Z</dcterms:modified>
</cp:coreProperties>
</file>